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pn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6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7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8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9.xml" ContentType="application/vnd.openxmlformats-officedocument.theme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10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1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media/image30.jpg" ContentType="image/jpeg"/>
  <Override PartName="/ppt/media/image31.jpg" ContentType="image/jpeg"/>
  <Override PartName="/ppt/media/image33.jpg" ContentType="image/jpeg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1"/>
    <p:sldMasterId id="2147483684" r:id="rId2"/>
    <p:sldMasterId id="2147483703" r:id="rId3"/>
    <p:sldMasterId id="2147483720" r:id="rId4"/>
    <p:sldMasterId id="2147483774" r:id="rId5"/>
    <p:sldMasterId id="2147483789" r:id="rId6"/>
    <p:sldMasterId id="2147483819" r:id="rId7"/>
    <p:sldMasterId id="2147483890" r:id="rId8"/>
    <p:sldMasterId id="2147483897" r:id="rId9"/>
    <p:sldMasterId id="2147483960" r:id="rId10"/>
    <p:sldMasterId id="2147483973" r:id="rId11"/>
    <p:sldMasterId id="2147483987" r:id="rId12"/>
  </p:sldMasterIdLst>
  <p:notesMasterIdLst>
    <p:notesMasterId r:id="rId15"/>
  </p:notesMasterIdLst>
  <p:sldIdLst>
    <p:sldId id="2147472401" r:id="rId13"/>
    <p:sldId id="2147472403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abdullin, Aslanbek" initials="GA" lastIdx="3" clrIdx="0">
    <p:extLst>
      <p:ext uri="{19B8F6BF-5375-455C-9EA6-DF929625EA0E}">
        <p15:presenceInfo xmlns:p15="http://schemas.microsoft.com/office/powerpoint/2012/main" userId="S::GabdAsl@kpo.kz::785c4383-04eb-4934-8c00-27340b04457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0099"/>
    <a:srgbClr val="3366FF"/>
    <a:srgbClr val="0000FF"/>
    <a:srgbClr val="7F7F7F"/>
    <a:srgbClr val="FBD741"/>
    <a:srgbClr val="34D399"/>
    <a:srgbClr val="FFDD3F"/>
    <a:srgbClr val="00ABC5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73" autoAdjust="0"/>
    <p:restoredTop sz="95182" autoAdjust="0"/>
  </p:normalViewPr>
  <p:slideViewPr>
    <p:cSldViewPr snapToGrid="0">
      <p:cViewPr varScale="1">
        <p:scale>
          <a:sx n="120" d="100"/>
          <a:sy n="120" d="100"/>
        </p:scale>
        <p:origin x="156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796"/>
    </p:cViewPr>
  </p:sorterViewPr>
  <p:notesViewPr>
    <p:cSldViewPr snapToGrid="0">
      <p:cViewPr varScale="1">
        <p:scale>
          <a:sx n="95" d="100"/>
          <a:sy n="95" d="100"/>
        </p:scale>
        <p:origin x="3582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1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225E76-91C0-42FB-95A0-295D4827B93F}" type="datetimeFigureOut">
              <a:rPr lang="en-GB" smtClean="0"/>
              <a:t>22/12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102CDB-FD81-4398-B8DC-49EAE354763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84285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800" dirty="0">
              <a:effectLst/>
              <a:latin typeface="Verdana" panose="020B060403050404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102CDB-FD81-4398-B8DC-49EAE3547636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70350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000BA0-A46D-BAB0-BF54-AB1E8D681E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41582A-DEE2-C468-E4ED-FCDC972BAD6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E88194F-A4B7-25DF-4723-94D1677541C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800" dirty="0">
              <a:effectLst/>
              <a:latin typeface="Verdana" panose="020B060403050404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9D5EB7-1194-58E8-0AF2-F3FF3CC7713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102CDB-FD81-4398-B8DC-49EAE3547636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88688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wmf"/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.xml"/><Relationship Id="rId5" Type="http://schemas.openxmlformats.org/officeDocument/2006/relationships/image" Target="../media/image6.png"/><Relationship Id="rId4" Type="http://schemas.openxmlformats.org/officeDocument/2006/relationships/image" Target="../media/image22.emf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wmf"/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_ConCom_J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9" name="Rectangle 18"/>
          <p:cNvSpPr/>
          <p:nvPr userDrawn="1"/>
        </p:nvSpPr>
        <p:spPr>
          <a:xfrm>
            <a:off x="-1" y="4244083"/>
            <a:ext cx="9757038" cy="1536700"/>
          </a:xfrm>
          <a:prstGeom prst="rect">
            <a:avLst/>
          </a:prstGeom>
          <a:solidFill>
            <a:srgbClr val="00ABC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8" name="Titolo 1"/>
          <p:cNvSpPr>
            <a:spLocks noGrp="1"/>
          </p:cNvSpPr>
          <p:nvPr>
            <p:ph type="ctrTitle" hasCustomPrompt="1"/>
          </p:nvPr>
        </p:nvSpPr>
        <p:spPr>
          <a:xfrm>
            <a:off x="-1" y="4273616"/>
            <a:ext cx="9757035" cy="506206"/>
          </a:xfrm>
          <a:prstGeom prst="rect">
            <a:avLst/>
          </a:prstGeom>
          <a:noFill/>
        </p:spPr>
        <p:txBody>
          <a:bodyPr anchor="b">
            <a:normAutofit/>
          </a:bodyPr>
          <a:lstStyle>
            <a:lvl1pPr algn="l" eaLnBrk="1" hangingPunct="1">
              <a:defRPr lang="it-IT" sz="3600" b="1" kern="120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eaLnBrk="1" hangingPunct="1"/>
            <a:r>
              <a:rPr lang="en-US" altLang="en-US" sz="3600" b="1" dirty="0">
                <a:solidFill>
                  <a:srgbClr val="FFFFFF"/>
                </a:solidFill>
                <a:cs typeface="Arial" charset="0"/>
              </a:rPr>
              <a:t>JOINT OPERATING COMMITTEE MEETING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quarter" idx="10" hasCustomPrompt="1"/>
          </p:nvPr>
        </p:nvSpPr>
        <p:spPr>
          <a:xfrm>
            <a:off x="1" y="4867058"/>
            <a:ext cx="9757036" cy="9521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800" b="0" i="0" baseline="0">
                <a:solidFill>
                  <a:srgbClr val="FFD500"/>
                </a:solidFill>
              </a:defRPr>
            </a:lvl1pPr>
            <a:lvl2pPr marL="457188" indent="0">
              <a:buFontTx/>
              <a:buNone/>
              <a:defRPr sz="2000" b="1" i="0"/>
            </a:lvl2pPr>
            <a:lvl3pPr marL="914377" indent="0">
              <a:buFontTx/>
              <a:buNone/>
              <a:defRPr sz="2000" b="1" i="0"/>
            </a:lvl3pPr>
            <a:lvl4pPr marL="1371566" indent="0">
              <a:buFontTx/>
              <a:buNone/>
              <a:defRPr sz="2000" b="1" i="0"/>
            </a:lvl4pPr>
            <a:lvl5pPr marL="1828755" indent="0">
              <a:buFontTx/>
              <a:buNone/>
              <a:defRPr sz="2000" b="1" i="0"/>
            </a:lvl5pPr>
          </a:lstStyle>
          <a:p>
            <a:pPr lvl="0"/>
            <a:r>
              <a:rPr lang="it-IT" dirty="0"/>
              <a:t>OpCom / ConCom or JOC and any orther external meetings/forums/sessions/workshops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-1" y="5765296"/>
            <a:ext cx="8089643" cy="126853"/>
          </a:xfrm>
          <a:prstGeom prst="rect">
            <a:avLst/>
          </a:prstGeom>
          <a:solidFill>
            <a:srgbClr val="FBD741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22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0" y="6027467"/>
            <a:ext cx="9144000" cy="5454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FFFF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dirty="0"/>
              <a:t>Location, DD MMM YYYY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613037" y="5726867"/>
            <a:ext cx="215475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/>
              <a:t>© 2021 Karachaganak Petroleum Operating </a:t>
            </a:r>
            <a:r>
              <a:rPr lang="en-GB" sz="800" dirty="0" err="1"/>
              <a:t>b.v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8434932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gress char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/>
          <p:cNvSpPr>
            <a:spLocks noGrp="1"/>
          </p:cNvSpPr>
          <p:nvPr>
            <p:ph type="pic" sz="quarter" idx="14"/>
          </p:nvPr>
        </p:nvSpPr>
        <p:spPr>
          <a:xfrm>
            <a:off x="0" y="785257"/>
            <a:ext cx="6209955" cy="598932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1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1 w 10000"/>
              <a:gd name="connsiteY4" fmla="*/ 0 h 10000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10002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7751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10000">
                <a:moveTo>
                  <a:pt x="2" y="0"/>
                </a:moveTo>
                <a:lnTo>
                  <a:pt x="10002" y="0"/>
                </a:lnTo>
                <a:lnTo>
                  <a:pt x="7751" y="10000"/>
                </a:lnTo>
                <a:lnTo>
                  <a:pt x="2" y="10000"/>
                </a:lnTo>
                <a:cubicBezTo>
                  <a:pt x="9" y="6667"/>
                  <a:pt x="-5" y="3333"/>
                  <a:pt x="2" y="0"/>
                </a:cubicBezTo>
                <a:close/>
              </a:path>
            </a:pathLst>
          </a:custGeom>
          <a:solidFill>
            <a:srgbClr val="F3BF00">
              <a:alpha val="49804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it-IT" dirty="0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1135965" y="1138334"/>
            <a:ext cx="5333529" cy="5297529"/>
          </a:xfrm>
          <a:prstGeom prst="ellipse">
            <a:avLst/>
          </a:prstGeom>
          <a:solidFill>
            <a:srgbClr val="C6C6C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egnaposto tabella 7"/>
          <p:cNvSpPr>
            <a:spLocks noGrp="1"/>
          </p:cNvSpPr>
          <p:nvPr>
            <p:ph type="tbl" sz="quarter" idx="15"/>
          </p:nvPr>
        </p:nvSpPr>
        <p:spPr>
          <a:xfrm>
            <a:off x="6587411" y="4273984"/>
            <a:ext cx="5016599" cy="220973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table</a:t>
            </a:r>
            <a:endParaRPr lang="it-IT" dirty="0"/>
          </a:p>
        </p:txBody>
      </p:sp>
      <p:sp>
        <p:nvSpPr>
          <p:cNvPr id="12" name="Segnaposto grafico 11"/>
          <p:cNvSpPr>
            <a:spLocks noGrp="1"/>
          </p:cNvSpPr>
          <p:nvPr>
            <p:ph type="chart" sz="quarter" idx="16"/>
          </p:nvPr>
        </p:nvSpPr>
        <p:spPr>
          <a:xfrm>
            <a:off x="6587413" y="964413"/>
            <a:ext cx="5016598" cy="3237737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chart</a:t>
            </a:r>
            <a:endParaRPr lang="it-IT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42EF16D-AB05-4D59-8925-A96DDA1D81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1" name="Segnaposto numero diapositiva 2">
            <a:extLst>
              <a:ext uri="{FF2B5EF4-FFF2-40B4-BE49-F238E27FC236}">
                <a16:creationId xmlns:a16="http://schemas.microsoft.com/office/drawing/2014/main" id="{A64B7CF0-025B-4FCF-B6E1-D9D22316D92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1D5867DC-E179-4697-B728-D5E727A664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  <p:pic>
        <p:nvPicPr>
          <p:cNvPr id="14" name="Immagine 8">
            <a:extLst>
              <a:ext uri="{FF2B5EF4-FFF2-40B4-BE49-F238E27FC236}">
                <a16:creationId xmlns:a16="http://schemas.microsoft.com/office/drawing/2014/main" id="{DBDEF073-A96D-49F1-9749-6F52EC927B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6718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3F82AA-6A3C-4B7E-8611-DE58C4244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36235" y="403225"/>
            <a:ext cx="9708994" cy="473075"/>
          </a:xfrm>
          <a:prstGeom prst="rect">
            <a:avLst/>
          </a:prstGeom>
        </p:spPr>
        <p:txBody>
          <a:bodyPr/>
          <a:lstStyle>
            <a:lvl1pPr algn="ctr"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8DEA17-3889-4D77-AD3E-7CA42BD25B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A0AF6-E3A1-46D2-A4E3-F374DCDE6AA2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62E90-CA0C-4467-8A15-A230BBAA45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9A4455-E56D-4A2B-AC9E-10EA0546D5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612489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855B43B8-51EA-423C-AA9B-BDFD3D5151AC}"/>
              </a:ext>
            </a:extLst>
          </p:cNvPr>
          <p:cNvSpPr/>
          <p:nvPr userDrawn="1"/>
        </p:nvSpPr>
        <p:spPr>
          <a:xfrm>
            <a:off x="0" y="3535062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728B678-13FB-4938-8058-8E21911E9D7A}"/>
              </a:ext>
            </a:extLst>
          </p:cNvPr>
          <p:cNvSpPr/>
          <p:nvPr userDrawn="1"/>
        </p:nvSpPr>
        <p:spPr>
          <a:xfrm>
            <a:off x="683568" y="4149194"/>
            <a:ext cx="770350" cy="1334334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1">
              <a:solidFill>
                <a:srgbClr val="00B5C9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91F3C88-6932-43FB-B127-883BE07E4F68}"/>
              </a:ext>
            </a:extLst>
          </p:cNvPr>
          <p:cNvSpPr/>
          <p:nvPr userDrawn="1"/>
        </p:nvSpPr>
        <p:spPr>
          <a:xfrm>
            <a:off x="0" y="-8238"/>
            <a:ext cx="12192000" cy="3543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5AC5782-9956-4A28-9090-97585E3C4EA4}"/>
              </a:ext>
            </a:extLst>
          </p:cNvPr>
          <p:cNvSpPr/>
          <p:nvPr userDrawn="1"/>
        </p:nvSpPr>
        <p:spPr>
          <a:xfrm>
            <a:off x="0" y="34290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3F1AA14-047E-49CB-B7E7-5567060E5078}"/>
              </a:ext>
            </a:extLst>
          </p:cNvPr>
          <p:cNvSpPr/>
          <p:nvPr userDrawn="1"/>
        </p:nvSpPr>
        <p:spPr>
          <a:xfrm>
            <a:off x="6096000" y="6751938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2B8C3BD-09D3-490C-8BB3-D8CC55BA09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2693" y="1367471"/>
            <a:ext cx="2098907" cy="1581570"/>
          </a:xfrm>
          <a:prstGeom prst="rect">
            <a:avLst/>
          </a:prstGeom>
        </p:spPr>
      </p:pic>
      <p:sp>
        <p:nvSpPr>
          <p:cNvPr id="21" name="Titolo 1">
            <a:extLst>
              <a:ext uri="{FF2B5EF4-FFF2-40B4-BE49-F238E27FC236}">
                <a16:creationId xmlns:a16="http://schemas.microsoft.com/office/drawing/2014/main" id="{F0BB45C6-8760-4DFF-A3EC-4E4CEFF26E0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0699" y="3268740"/>
            <a:ext cx="1276088" cy="1866057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ctr" eaLnBrk="1" hangingPunct="1">
              <a:defRPr lang="it-IT" sz="4000" b="1" kern="1200" dirty="0">
                <a:solidFill>
                  <a:srgbClr val="FFFFFF"/>
                </a:solidFill>
                <a:latin typeface="+mn-lt"/>
                <a:ea typeface="+mj-ea"/>
                <a:cs typeface="+mj-cs"/>
              </a:defRPr>
            </a:lvl1pPr>
          </a:lstStyle>
          <a:p>
            <a:pPr eaLnBrk="1" hangingPunct="1"/>
            <a:r>
              <a:rPr lang="en-US" altLang="en-US" sz="3600" b="1" dirty="0">
                <a:solidFill>
                  <a:srgbClr val="FFFFFF"/>
                </a:solidFill>
                <a:cs typeface="Arial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8192177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4F85D4-350A-4934-94C2-B0CF17F11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5ACA7A-E45D-454A-AFEE-88D14AAC514F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805AC1-3FF1-4AF9-8803-3CBBBFF911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EB158-BBFC-43BB-8377-A5774A8AE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icture Placeholder 20">
            <a:extLst>
              <a:ext uri="{FF2B5EF4-FFF2-40B4-BE49-F238E27FC236}">
                <a16:creationId xmlns:a16="http://schemas.microsoft.com/office/drawing/2014/main" id="{11C1103D-CEF6-4A34-BB84-9CD9D6AF06B9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7" name="Picture Placeholder 18">
            <a:extLst>
              <a:ext uri="{FF2B5EF4-FFF2-40B4-BE49-F238E27FC236}">
                <a16:creationId xmlns:a16="http://schemas.microsoft.com/office/drawing/2014/main" id="{B10DB224-1BDC-4CBE-90F4-38C848316105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8" name="Picture Placeholder 19">
            <a:extLst>
              <a:ext uri="{FF2B5EF4-FFF2-40B4-BE49-F238E27FC236}">
                <a16:creationId xmlns:a16="http://schemas.microsoft.com/office/drawing/2014/main" id="{0451E06C-C20B-4542-80E3-B5BF078B8A87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6573991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F9FA7A-FCC0-44E8-ADF7-832DF1328D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1296" y="402794"/>
            <a:ext cx="5568950" cy="582613"/>
          </a:xfrm>
          <a:prstGeom prst="rect">
            <a:avLst/>
          </a:prstGeo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A6C748-72DD-4C78-861F-A78C0222C9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B8E457-AB31-43BD-AB15-FFD9B62AF2FC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EC9F04-8F47-4F4F-A1CD-7BA9AE005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직사각형 7">
            <a:extLst>
              <a:ext uri="{FF2B5EF4-FFF2-40B4-BE49-F238E27FC236}">
                <a16:creationId xmlns:a16="http://schemas.microsoft.com/office/drawing/2014/main" id="{8B5DE974-BFF0-4731-95F9-6EEFBA0F11BE}"/>
              </a:ext>
            </a:extLst>
          </p:cNvPr>
          <p:cNvSpPr/>
          <p:nvPr userDrawn="1"/>
        </p:nvSpPr>
        <p:spPr>
          <a:xfrm>
            <a:off x="0" y="2362200"/>
            <a:ext cx="12191999" cy="2133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그림 개체 틀 6">
            <a:extLst>
              <a:ext uri="{FF2B5EF4-FFF2-40B4-BE49-F238E27FC236}">
                <a16:creationId xmlns:a16="http://schemas.microsoft.com/office/drawing/2014/main" id="{069EA79A-7C3E-4577-896A-2E9E2230893C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534029" y="2"/>
            <a:ext cx="6657973" cy="6857999"/>
          </a:xfrm>
          <a:custGeom>
            <a:avLst/>
            <a:gdLst>
              <a:gd name="connsiteX0" fmla="*/ 2362199 w 6657973"/>
              <a:gd name="connsiteY0" fmla="*/ 0 h 6857999"/>
              <a:gd name="connsiteX1" fmla="*/ 6657973 w 6657973"/>
              <a:gd name="connsiteY1" fmla="*/ 0 h 6857999"/>
              <a:gd name="connsiteX2" fmla="*/ 6657973 w 6657973"/>
              <a:gd name="connsiteY2" fmla="*/ 3630706 h 6857999"/>
              <a:gd name="connsiteX3" fmla="*/ 6657972 w 6657973"/>
              <a:gd name="connsiteY3" fmla="*/ 6857999 h 6857999"/>
              <a:gd name="connsiteX4" fmla="*/ 2362198 w 6657973"/>
              <a:gd name="connsiteY4" fmla="*/ 6857999 h 6857999"/>
              <a:gd name="connsiteX5" fmla="*/ 2362198 w 6657973"/>
              <a:gd name="connsiteY5" fmla="*/ 6857999 h 6857999"/>
              <a:gd name="connsiteX6" fmla="*/ 0 w 6657973"/>
              <a:gd name="connsiteY6" fmla="*/ 343853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57973" h="6857999">
                <a:moveTo>
                  <a:pt x="2362199" y="0"/>
                </a:moveTo>
                <a:lnTo>
                  <a:pt x="6657973" y="0"/>
                </a:lnTo>
                <a:lnTo>
                  <a:pt x="6657973" y="3630706"/>
                </a:lnTo>
                <a:lnTo>
                  <a:pt x="6657972" y="6857999"/>
                </a:lnTo>
                <a:lnTo>
                  <a:pt x="2362198" y="6857999"/>
                </a:lnTo>
                <a:lnTo>
                  <a:pt x="2362198" y="6857999"/>
                </a:lnTo>
                <a:lnTo>
                  <a:pt x="0" y="34385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D550EE-67B9-43DA-9CFD-4C1DCE163A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568967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A241F4F-C16C-4747-B37C-642EF39ECC44}"/>
              </a:ext>
            </a:extLst>
          </p:cNvPr>
          <p:cNvSpPr/>
          <p:nvPr userDrawn="1"/>
        </p:nvSpPr>
        <p:spPr>
          <a:xfrm>
            <a:off x="0" y="3543300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AFE592-FBF3-49A2-95E7-8917B7DD4DF4}"/>
              </a:ext>
            </a:extLst>
          </p:cNvPr>
          <p:cNvSpPr/>
          <p:nvPr userDrawn="1"/>
        </p:nvSpPr>
        <p:spPr>
          <a:xfrm>
            <a:off x="6096000" y="6754812"/>
            <a:ext cx="6096000" cy="103188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AF9BB6F-1977-43D2-802F-64D37E3FB1DE}"/>
              </a:ext>
            </a:extLst>
          </p:cNvPr>
          <p:cNvSpPr/>
          <p:nvPr userDrawn="1"/>
        </p:nvSpPr>
        <p:spPr>
          <a:xfrm>
            <a:off x="0" y="0"/>
            <a:ext cx="12192000" cy="3543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1F5FAC-9DE8-4A62-BF70-AD6851D91F31}"/>
              </a:ext>
            </a:extLst>
          </p:cNvPr>
          <p:cNvSpPr txBox="1"/>
          <p:nvPr userDrawn="1"/>
        </p:nvSpPr>
        <p:spPr>
          <a:xfrm>
            <a:off x="4378777" y="2584036"/>
            <a:ext cx="455204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400" dirty="0">
                <a:solidFill>
                  <a:schemeClr val="accent1"/>
                </a:solidFill>
                <a:cs typeface="Arial" pitchFamily="34" charset="0"/>
              </a:rPr>
              <a:t>Thank You!</a:t>
            </a:r>
            <a:endParaRPr lang="ko-KR" altLang="en-US" sz="5400" dirty="0">
              <a:solidFill>
                <a:schemeClr val="accent1"/>
              </a:solidFill>
              <a:cs typeface="Arial" pitchFamily="34" charset="0"/>
            </a:endParaRPr>
          </a:p>
          <a:p>
            <a:endParaRPr lang="en-GB" sz="5400" dirty="0">
              <a:solidFill>
                <a:schemeClr val="accent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B0FD7B9-2459-4D74-A331-FD4317680EC7}"/>
              </a:ext>
            </a:extLst>
          </p:cNvPr>
          <p:cNvSpPr/>
          <p:nvPr userDrawn="1"/>
        </p:nvSpPr>
        <p:spPr>
          <a:xfrm>
            <a:off x="0" y="34417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</p:spTree>
    <p:extLst>
      <p:ext uri="{BB962C8B-B14F-4D97-AF65-F5344CB8AC3E}">
        <p14:creationId xmlns:p14="http://schemas.microsoft.com/office/powerpoint/2010/main" val="163445196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piè di pagina 2">
            <a:extLst>
              <a:ext uri="{FF2B5EF4-FFF2-40B4-BE49-F238E27FC236}">
                <a16:creationId xmlns:a16="http://schemas.microsoft.com/office/drawing/2014/main" id="{C47BF2F4-F75C-4921-AC8D-AB8937033F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21963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6717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GB" sz="800" dirty="0"/>
              <a:t> DD/MM/YYYY                    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KARACHAGANAK PETROLEUM OPERATING B.V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765365F8-0B0F-4281-A808-D81027A1374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274" y="6525526"/>
            <a:ext cx="616226" cy="332474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3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7E05C84-CEB4-4490-9EB6-4D732264EA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7491"/>
            <a:ext cx="12192000" cy="832023"/>
          </a:xfrm>
          <a:prstGeom prst="rect">
            <a:avLst/>
          </a:prstGeom>
        </p:spPr>
        <p:txBody>
          <a:bodyPr/>
          <a:lstStyle>
            <a:lvl1pPr>
              <a:defRPr sz="3200" b="0" cap="none" spc="0">
                <a:ln w="0"/>
                <a:solidFill>
                  <a:schemeClr val="tx2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0548198"/>
      </p:ext>
    </p:extLst>
  </p:cSld>
  <p:clrMapOvr>
    <a:masterClrMapping/>
  </p:clrMapOvr>
  <p:hf hdr="0" dt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rgbClr val="00B0C8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5331333" y="6574256"/>
            <a:ext cx="638810" cy="127634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rgbClr val="7E7E7E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65"/>
              </a:lnSpc>
            </a:pPr>
            <a:r>
              <a:rPr spc="-5" dirty="0"/>
              <a:t>CONFIDENTIAL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9096247" y="6574256"/>
            <a:ext cx="1933575" cy="127634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rgbClr val="7E7E7E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65"/>
              </a:lnSpc>
            </a:pPr>
            <a:r>
              <a:rPr dirty="0"/>
              <a:t>KA</a:t>
            </a:r>
            <a:r>
              <a:rPr spc="-5" dirty="0"/>
              <a:t>R</a:t>
            </a:r>
            <a:r>
              <a:rPr dirty="0"/>
              <a:t>ACHA</a:t>
            </a:r>
            <a:r>
              <a:rPr spc="-5" dirty="0"/>
              <a:t>G</a:t>
            </a:r>
            <a:r>
              <a:rPr dirty="0"/>
              <a:t>A</a:t>
            </a:r>
            <a:r>
              <a:rPr spc="-5" dirty="0"/>
              <a:t>N</a:t>
            </a:r>
            <a:r>
              <a:rPr spc="-10" dirty="0"/>
              <a:t>A</a:t>
            </a:r>
            <a:r>
              <a:rPr dirty="0"/>
              <a:t>K</a:t>
            </a:r>
            <a:r>
              <a:rPr spc="-50" dirty="0"/>
              <a:t> </a:t>
            </a:r>
            <a:r>
              <a:rPr dirty="0"/>
              <a:t>PET</a:t>
            </a:r>
            <a:r>
              <a:rPr spc="-5" dirty="0"/>
              <a:t>ROLEU</a:t>
            </a:r>
            <a:r>
              <a:rPr dirty="0"/>
              <a:t>M</a:t>
            </a:r>
            <a:r>
              <a:rPr spc="-30" dirty="0"/>
              <a:t> </a:t>
            </a:r>
            <a:r>
              <a:rPr spc="-5" dirty="0"/>
              <a:t>O</a:t>
            </a:r>
            <a:r>
              <a:rPr dirty="0"/>
              <a:t>PE</a:t>
            </a:r>
            <a:r>
              <a:rPr spc="-5" dirty="0"/>
              <a:t>R</a:t>
            </a:r>
            <a:r>
              <a:rPr dirty="0"/>
              <a:t>ATING</a:t>
            </a:r>
            <a:r>
              <a:rPr spc="-55" dirty="0"/>
              <a:t> </a:t>
            </a:r>
            <a:r>
              <a:rPr spc="-10" dirty="0"/>
              <a:t>B</a:t>
            </a:r>
            <a:r>
              <a:rPr spc="-5" dirty="0"/>
              <a:t>.V</a:t>
            </a: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7E7E7E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865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244657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3F82AA-6A3C-4B7E-8611-DE58C4244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229" y="403225"/>
            <a:ext cx="4921541" cy="473075"/>
          </a:xfrm>
          <a:prstGeom prst="rect">
            <a:avLst/>
          </a:prstGeom>
        </p:spPr>
        <p:txBody>
          <a:bodyPr/>
          <a:lstStyle>
            <a:lvl1pPr algn="ctr"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8DEA17-3889-4D77-AD3E-7CA42BD25B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62E90-CA0C-4467-8A15-A230BBAA45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9A4455-E56D-4A2B-AC9E-10EA0546D5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813811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D951BEC-6D24-4D80-BDEE-5778CEABCB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4344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t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877FD6-306E-4787-AC20-4F0061D7C2B5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F9E27A2-87EC-45AA-902D-31AA918DD4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7512" y="6530073"/>
            <a:ext cx="80710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CONFIDENTIALKARACHAGANAKPETROLEUMOPERATINGB.V.</a:t>
            </a:r>
            <a:endParaRPr lang="en-GB" dirty="0"/>
          </a:p>
          <a:p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02A44DB-F395-4A25-91A5-3D41C0F9E3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75609" y="64552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Content Placeholder 7">
            <a:extLst>
              <a:ext uri="{FF2B5EF4-FFF2-40B4-BE49-F238E27FC236}">
                <a16:creationId xmlns:a16="http://schemas.microsoft.com/office/drawing/2014/main" id="{8264A752-70D9-434A-94B7-FF2C86E32A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76136EA-776E-4BBF-B0C3-A2681D1066F7}"/>
              </a:ext>
            </a:extLst>
          </p:cNvPr>
          <p:cNvSpPr/>
          <p:nvPr userDrawn="1"/>
        </p:nvSpPr>
        <p:spPr>
          <a:xfrm>
            <a:off x="-1" y="4244083"/>
            <a:ext cx="9757038" cy="1536700"/>
          </a:xfrm>
          <a:prstGeom prst="rect">
            <a:avLst/>
          </a:prstGeom>
          <a:solidFill>
            <a:srgbClr val="00ABC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0FE704E-4644-43BF-B6A7-320FC061E47B}"/>
              </a:ext>
            </a:extLst>
          </p:cNvPr>
          <p:cNvSpPr/>
          <p:nvPr userDrawn="1"/>
        </p:nvSpPr>
        <p:spPr>
          <a:xfrm>
            <a:off x="-1" y="5765296"/>
            <a:ext cx="8089643" cy="126853"/>
          </a:xfrm>
          <a:prstGeom prst="rect">
            <a:avLst/>
          </a:prstGeom>
          <a:solidFill>
            <a:srgbClr val="FBD741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25D9C2-03A7-4921-A754-89324102A227}"/>
              </a:ext>
            </a:extLst>
          </p:cNvPr>
          <p:cNvSpPr/>
          <p:nvPr userDrawn="1"/>
        </p:nvSpPr>
        <p:spPr>
          <a:xfrm>
            <a:off x="613037" y="5726867"/>
            <a:ext cx="206498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/>
              <a:t>©2021KarachaganakPetroleumOperatingb.v</a:t>
            </a:r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E10B9D07-1445-4D84-B94A-B4A83DA4509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28599" y="4731905"/>
            <a:ext cx="8848726" cy="9521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pCom/ConCom/JOC and/or any other external/internal meetings/forums/sessions </a:t>
            </a:r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785937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3F82AA-6A3C-4B7E-8611-DE58C4244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229" y="403225"/>
            <a:ext cx="4921541" cy="473075"/>
          </a:xfrm>
          <a:prstGeom prst="rect">
            <a:avLst/>
          </a:prstGeom>
        </p:spPr>
        <p:txBody>
          <a:bodyPr/>
          <a:lstStyle>
            <a:lvl1pPr algn="ctr"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65462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es with line separation and shad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testo 11"/>
          <p:cNvSpPr>
            <a:spLocks noGrp="1"/>
          </p:cNvSpPr>
          <p:nvPr>
            <p:ph type="body" sz="quarter" idx="10"/>
          </p:nvPr>
        </p:nvSpPr>
        <p:spPr>
          <a:xfrm>
            <a:off x="640799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01B1C9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Segnaposto testo 13"/>
          <p:cNvSpPr>
            <a:spLocks noGrp="1"/>
          </p:cNvSpPr>
          <p:nvPr>
            <p:ph type="body" sz="quarter" idx="11"/>
          </p:nvPr>
        </p:nvSpPr>
        <p:spPr>
          <a:xfrm>
            <a:off x="4460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2"/>
          </p:nvPr>
        </p:nvSpPr>
        <p:spPr>
          <a:xfrm>
            <a:off x="8276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chemeClr val="bg1">
                <a:lumMod val="75000"/>
              </a:schemeClr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8" name="Connettore 1 13"/>
          <p:cNvCxnSpPr/>
          <p:nvPr userDrawn="1"/>
        </p:nvCxnSpPr>
        <p:spPr>
          <a:xfrm>
            <a:off x="4070685" y="113107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1 13"/>
          <p:cNvCxnSpPr/>
          <p:nvPr userDrawn="1"/>
        </p:nvCxnSpPr>
        <p:spPr>
          <a:xfrm>
            <a:off x="7880684" y="113040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egnaposto testo 31"/>
          <p:cNvSpPr>
            <a:spLocks noGrp="1"/>
          </p:cNvSpPr>
          <p:nvPr>
            <p:ph type="body" sz="quarter" idx="16"/>
          </p:nvPr>
        </p:nvSpPr>
        <p:spPr>
          <a:xfrm>
            <a:off x="1389600" y="5407200"/>
            <a:ext cx="9486000" cy="7308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>
            <a:normAutofit/>
          </a:bodyPr>
          <a:lstStyle>
            <a:lvl1pPr algn="ctr">
              <a:buNone/>
              <a:defRPr sz="1600" b="1" i="0" baseline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Segnaposto testo 19"/>
          <p:cNvSpPr>
            <a:spLocks noGrp="1"/>
          </p:cNvSpPr>
          <p:nvPr>
            <p:ph type="body" sz="quarter" idx="17" hasCustomPrompt="1"/>
          </p:nvPr>
        </p:nvSpPr>
        <p:spPr>
          <a:xfrm>
            <a:off x="640800" y="2209575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21" name="Segnaposto testo 19"/>
          <p:cNvSpPr>
            <a:spLocks noGrp="1"/>
          </p:cNvSpPr>
          <p:nvPr>
            <p:ph type="body" sz="quarter" idx="18" hasCustomPrompt="1"/>
          </p:nvPr>
        </p:nvSpPr>
        <p:spPr>
          <a:xfrm>
            <a:off x="4460400" y="2242232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22" name="Segnaposto testo 19"/>
          <p:cNvSpPr>
            <a:spLocks noGrp="1"/>
          </p:cNvSpPr>
          <p:nvPr>
            <p:ph type="body" sz="quarter" idx="19" hasCustomPrompt="1"/>
          </p:nvPr>
        </p:nvSpPr>
        <p:spPr>
          <a:xfrm>
            <a:off x="8276400" y="2264004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6942CEC-B03D-4250-8A31-6750985414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9" name="Segnaposto numero diapositiva 2">
            <a:extLst>
              <a:ext uri="{FF2B5EF4-FFF2-40B4-BE49-F238E27FC236}">
                <a16:creationId xmlns:a16="http://schemas.microsoft.com/office/drawing/2014/main" id="{9B1F8DF2-ACD9-421C-802F-15A8C8DF2DB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15" name="Segnaposto piè di pagina 2">
            <a:extLst>
              <a:ext uri="{FF2B5EF4-FFF2-40B4-BE49-F238E27FC236}">
                <a16:creationId xmlns:a16="http://schemas.microsoft.com/office/drawing/2014/main" id="{86CB8E07-1D78-438B-9E9B-643F2B8B1A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36781762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855B43B8-51EA-423C-AA9B-BDFD3D5151AC}"/>
              </a:ext>
            </a:extLst>
          </p:cNvPr>
          <p:cNvSpPr/>
          <p:nvPr userDrawn="1"/>
        </p:nvSpPr>
        <p:spPr>
          <a:xfrm>
            <a:off x="0" y="3535062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91F3C88-6932-43FB-B127-883BE07E4F68}"/>
              </a:ext>
            </a:extLst>
          </p:cNvPr>
          <p:cNvSpPr/>
          <p:nvPr userDrawn="1"/>
        </p:nvSpPr>
        <p:spPr>
          <a:xfrm>
            <a:off x="0" y="-8238"/>
            <a:ext cx="12192000" cy="3543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5AC5782-9956-4A28-9090-97585E3C4EA4}"/>
              </a:ext>
            </a:extLst>
          </p:cNvPr>
          <p:cNvSpPr/>
          <p:nvPr userDrawn="1"/>
        </p:nvSpPr>
        <p:spPr>
          <a:xfrm>
            <a:off x="0" y="34290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3F1AA14-047E-49CB-B7E7-5567060E5078}"/>
              </a:ext>
            </a:extLst>
          </p:cNvPr>
          <p:cNvSpPr/>
          <p:nvPr userDrawn="1"/>
        </p:nvSpPr>
        <p:spPr>
          <a:xfrm>
            <a:off x="6096000" y="6751938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2B8C3BD-09D3-490C-8BB3-D8CC55BA09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2693" y="1367471"/>
            <a:ext cx="2098907" cy="1581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12710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0">
            <a:extLst>
              <a:ext uri="{FF2B5EF4-FFF2-40B4-BE49-F238E27FC236}">
                <a16:creationId xmlns:a16="http://schemas.microsoft.com/office/drawing/2014/main" id="{11C1103D-CEF6-4A34-BB84-9CD9D6AF06B9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 err="1"/>
              <a:t>YourPictureHere</a:t>
            </a:r>
            <a:endParaRPr lang="ko-KR" altLang="en-US" dirty="0"/>
          </a:p>
        </p:txBody>
      </p:sp>
      <p:sp>
        <p:nvSpPr>
          <p:cNvPr id="7" name="Picture Placeholder 18">
            <a:extLst>
              <a:ext uri="{FF2B5EF4-FFF2-40B4-BE49-F238E27FC236}">
                <a16:creationId xmlns:a16="http://schemas.microsoft.com/office/drawing/2014/main" id="{B10DB224-1BDC-4CBE-90F4-38C848316105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 err="1"/>
              <a:t>YourPictureHere</a:t>
            </a:r>
            <a:endParaRPr lang="ko-KR" altLang="en-US" dirty="0"/>
          </a:p>
        </p:txBody>
      </p:sp>
      <p:sp>
        <p:nvSpPr>
          <p:cNvPr id="8" name="Picture Placeholder 19">
            <a:extLst>
              <a:ext uri="{FF2B5EF4-FFF2-40B4-BE49-F238E27FC236}">
                <a16:creationId xmlns:a16="http://schemas.microsoft.com/office/drawing/2014/main" id="{0451E06C-C20B-4542-80E3-B5BF078B8A87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 err="1"/>
              <a:t>YourPicture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3264125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F9FA7A-FCC0-44E8-ADF7-832DF1328D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1296" y="402794"/>
            <a:ext cx="5568950" cy="582613"/>
          </a:xfrm>
          <a:prstGeom prst="rect">
            <a:avLst/>
          </a:prstGeom>
        </p:spPr>
        <p:txBody>
          <a:bodyPr/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직사각형 7">
            <a:extLst>
              <a:ext uri="{FF2B5EF4-FFF2-40B4-BE49-F238E27FC236}">
                <a16:creationId xmlns:a16="http://schemas.microsoft.com/office/drawing/2014/main" id="{8B5DE974-BFF0-4731-95F9-6EEFBA0F11BE}"/>
              </a:ext>
            </a:extLst>
          </p:cNvPr>
          <p:cNvSpPr/>
          <p:nvPr userDrawn="1"/>
        </p:nvSpPr>
        <p:spPr>
          <a:xfrm>
            <a:off x="0" y="2362200"/>
            <a:ext cx="12191999" cy="2133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그림 개체 틀 6">
            <a:extLst>
              <a:ext uri="{FF2B5EF4-FFF2-40B4-BE49-F238E27FC236}">
                <a16:creationId xmlns:a16="http://schemas.microsoft.com/office/drawing/2014/main" id="{069EA79A-7C3E-4577-896A-2E9E2230893C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534029" y="2"/>
            <a:ext cx="6657973" cy="6857999"/>
          </a:xfrm>
          <a:custGeom>
            <a:avLst/>
            <a:gdLst>
              <a:gd name="connsiteX0" fmla="*/ 2362199 w 6657973"/>
              <a:gd name="connsiteY0" fmla="*/ 0 h 6857999"/>
              <a:gd name="connsiteX1" fmla="*/ 6657973 w 6657973"/>
              <a:gd name="connsiteY1" fmla="*/ 0 h 6857999"/>
              <a:gd name="connsiteX2" fmla="*/ 6657973 w 6657973"/>
              <a:gd name="connsiteY2" fmla="*/ 3630706 h 6857999"/>
              <a:gd name="connsiteX3" fmla="*/ 6657972 w 6657973"/>
              <a:gd name="connsiteY3" fmla="*/ 6857999 h 6857999"/>
              <a:gd name="connsiteX4" fmla="*/ 2362198 w 6657973"/>
              <a:gd name="connsiteY4" fmla="*/ 6857999 h 6857999"/>
              <a:gd name="connsiteX5" fmla="*/ 2362198 w 6657973"/>
              <a:gd name="connsiteY5" fmla="*/ 6857999 h 6857999"/>
              <a:gd name="connsiteX6" fmla="*/ 0 w 6657973"/>
              <a:gd name="connsiteY6" fmla="*/ 343853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57973" h="6857999">
                <a:moveTo>
                  <a:pt x="2362199" y="0"/>
                </a:moveTo>
                <a:lnTo>
                  <a:pt x="6657973" y="0"/>
                </a:lnTo>
                <a:lnTo>
                  <a:pt x="6657973" y="3630706"/>
                </a:lnTo>
                <a:lnTo>
                  <a:pt x="6657972" y="6857999"/>
                </a:lnTo>
                <a:lnTo>
                  <a:pt x="2362198" y="6857999"/>
                </a:lnTo>
                <a:lnTo>
                  <a:pt x="2362198" y="6857999"/>
                </a:lnTo>
                <a:lnTo>
                  <a:pt x="0" y="34385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 err="1"/>
              <a:t>PlaceYourPicture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2629060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A241F4F-C16C-4747-B37C-642EF39ECC44}"/>
              </a:ext>
            </a:extLst>
          </p:cNvPr>
          <p:cNvSpPr/>
          <p:nvPr userDrawn="1"/>
        </p:nvSpPr>
        <p:spPr>
          <a:xfrm>
            <a:off x="0" y="3543300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AFE592-FBF3-49A2-95E7-8917B7DD4DF4}"/>
              </a:ext>
            </a:extLst>
          </p:cNvPr>
          <p:cNvSpPr/>
          <p:nvPr userDrawn="1"/>
        </p:nvSpPr>
        <p:spPr>
          <a:xfrm>
            <a:off x="6096000" y="6754812"/>
            <a:ext cx="6096000" cy="103188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AF9BB6F-1977-43D2-802F-64D37E3FB1DE}"/>
              </a:ext>
            </a:extLst>
          </p:cNvPr>
          <p:cNvSpPr/>
          <p:nvPr userDrawn="1"/>
        </p:nvSpPr>
        <p:spPr>
          <a:xfrm>
            <a:off x="0" y="0"/>
            <a:ext cx="12192000" cy="3543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1F5FAC-9DE8-4A62-BF70-AD6851D91F31}"/>
              </a:ext>
            </a:extLst>
          </p:cNvPr>
          <p:cNvSpPr txBox="1"/>
          <p:nvPr userDrawn="1"/>
        </p:nvSpPr>
        <p:spPr>
          <a:xfrm>
            <a:off x="4378777" y="2584036"/>
            <a:ext cx="455204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400" dirty="0" err="1">
                <a:solidFill>
                  <a:schemeClr val="accent1"/>
                </a:solidFill>
                <a:cs typeface="Arial" pitchFamily="34" charset="0"/>
              </a:rPr>
              <a:t>ThankYou</a:t>
            </a:r>
            <a:r>
              <a:rPr lang="en-US" altLang="ko-KR" sz="5400" dirty="0">
                <a:solidFill>
                  <a:schemeClr val="accent1"/>
                </a:solidFill>
                <a:cs typeface="Arial" pitchFamily="34" charset="0"/>
              </a:rPr>
              <a:t>!</a:t>
            </a:r>
            <a:endParaRPr lang="ko-KR" altLang="en-US" sz="5400" dirty="0">
              <a:solidFill>
                <a:schemeClr val="accent1"/>
              </a:solidFill>
              <a:cs typeface="Arial" pitchFamily="34" charset="0"/>
            </a:endParaRPr>
          </a:p>
          <a:p>
            <a:endParaRPr lang="en-GB" sz="5400" dirty="0">
              <a:solidFill>
                <a:schemeClr val="accent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B0FD7B9-2459-4D74-A331-FD4317680EC7}"/>
              </a:ext>
            </a:extLst>
          </p:cNvPr>
          <p:cNvSpPr/>
          <p:nvPr userDrawn="1"/>
        </p:nvSpPr>
        <p:spPr>
          <a:xfrm>
            <a:off x="0" y="34417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</p:spTree>
    <p:extLst>
      <p:ext uri="{BB962C8B-B14F-4D97-AF65-F5344CB8AC3E}">
        <p14:creationId xmlns:p14="http://schemas.microsoft.com/office/powerpoint/2010/main" val="162421174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8A0D947-5931-4227-AE62-D40527E3E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8" name="Picture Placeholder 20">
            <a:extLst>
              <a:ext uri="{FF2B5EF4-FFF2-40B4-BE49-F238E27FC236}">
                <a16:creationId xmlns:a16="http://schemas.microsoft.com/office/drawing/2014/main" id="{96AD8E23-45D7-4015-82F4-4F1D08D2ECEE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8093A54E-85BE-4508-BF9A-913B28F2A189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31980FD1-C947-46A3-8D90-A079E14193C0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A8D2DAEB-66F2-4129-A652-4A3243251D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50057" y="65019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3AD7C01-B994-4A99-BE98-CE15A6753CE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Segnaposto piè di pagina 2">
            <a:extLst>
              <a:ext uri="{FF2B5EF4-FFF2-40B4-BE49-F238E27FC236}">
                <a16:creationId xmlns:a16="http://schemas.microsoft.com/office/drawing/2014/main" id="{58DB64D0-F8CD-41A0-A690-13BFE43EE7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GB" sz="800"/>
              <a:t>31/01/2023                    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KARACHAGANAK PETROLEUM OPERATING B.V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41103633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D951BEC-6D24-4D80-BDEE-5778CEABCB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4344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t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877FD6-306E-4787-AC20-4F0061D7C2B5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F9E27A2-87EC-45AA-902D-31AA918DD4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7512" y="6530073"/>
            <a:ext cx="80710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CONFIDENTIAL                                                                                                             KARACHAGANAK PETROLEUM OPERATING B.V.</a:t>
            </a:r>
            <a:endParaRPr lang="en-GB" dirty="0"/>
          </a:p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02A44DB-F395-4A25-91A5-3D41C0F9E3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75609" y="64552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Content Placeholder 7">
            <a:extLst>
              <a:ext uri="{FF2B5EF4-FFF2-40B4-BE49-F238E27FC236}">
                <a16:creationId xmlns:a16="http://schemas.microsoft.com/office/drawing/2014/main" id="{8264A752-70D9-434A-94B7-FF2C86E32A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76136EA-776E-4BBF-B0C3-A2681D1066F7}"/>
              </a:ext>
            </a:extLst>
          </p:cNvPr>
          <p:cNvSpPr/>
          <p:nvPr userDrawn="1"/>
        </p:nvSpPr>
        <p:spPr>
          <a:xfrm>
            <a:off x="-1" y="4244083"/>
            <a:ext cx="9757038" cy="1536700"/>
          </a:xfrm>
          <a:prstGeom prst="rect">
            <a:avLst/>
          </a:prstGeom>
          <a:solidFill>
            <a:srgbClr val="00ABC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0FE704E-4644-43BF-B6A7-320FC061E47B}"/>
              </a:ext>
            </a:extLst>
          </p:cNvPr>
          <p:cNvSpPr/>
          <p:nvPr userDrawn="1"/>
        </p:nvSpPr>
        <p:spPr>
          <a:xfrm>
            <a:off x="-1" y="5765296"/>
            <a:ext cx="8089643" cy="126853"/>
          </a:xfrm>
          <a:prstGeom prst="rect">
            <a:avLst/>
          </a:prstGeom>
          <a:solidFill>
            <a:srgbClr val="FBD741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25D9C2-03A7-4921-A754-89324102A227}"/>
              </a:ext>
            </a:extLst>
          </p:cNvPr>
          <p:cNvSpPr/>
          <p:nvPr userDrawn="1"/>
        </p:nvSpPr>
        <p:spPr>
          <a:xfrm>
            <a:off x="613037" y="5726867"/>
            <a:ext cx="215475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/>
              <a:t>© 2021 Karachaganak Petroleum Operating </a:t>
            </a:r>
            <a:r>
              <a:rPr lang="en-GB" sz="800" dirty="0" err="1"/>
              <a:t>b.v</a:t>
            </a:r>
            <a:endParaRPr lang="en-GB" sz="800" dirty="0"/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E10B9D07-1445-4D84-B94A-B4A83DA4509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28599" y="4731905"/>
            <a:ext cx="8848726" cy="9521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pCom/ConCom/JOC and/or any other external/internal meetings/forums/sessions </a:t>
            </a:r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581047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3F82AA-6A3C-4B7E-8611-DE58C4244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36235" y="403225"/>
            <a:ext cx="9708994" cy="473075"/>
          </a:xfrm>
          <a:prstGeom prst="rect">
            <a:avLst/>
          </a:prstGeom>
        </p:spPr>
        <p:txBody>
          <a:bodyPr/>
          <a:lstStyle>
            <a:lvl1pPr algn="ctr"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8DEA17-3889-4D77-AD3E-7CA42BD25B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A0AF6-E3A1-46D2-A4E3-F374DCDE6AA2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62E90-CA0C-4467-8A15-A230BBAA45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9A4455-E56D-4A2B-AC9E-10EA0546D5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352773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855B43B8-51EA-423C-AA9B-BDFD3D5151AC}"/>
              </a:ext>
            </a:extLst>
          </p:cNvPr>
          <p:cNvSpPr/>
          <p:nvPr userDrawn="1"/>
        </p:nvSpPr>
        <p:spPr>
          <a:xfrm>
            <a:off x="0" y="3535062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728B678-13FB-4938-8058-8E21911E9D7A}"/>
              </a:ext>
            </a:extLst>
          </p:cNvPr>
          <p:cNvSpPr/>
          <p:nvPr userDrawn="1"/>
        </p:nvSpPr>
        <p:spPr>
          <a:xfrm>
            <a:off x="683568" y="4149194"/>
            <a:ext cx="770350" cy="1334334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1">
              <a:solidFill>
                <a:srgbClr val="00B5C9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91F3C88-6932-43FB-B127-883BE07E4F68}"/>
              </a:ext>
            </a:extLst>
          </p:cNvPr>
          <p:cNvSpPr/>
          <p:nvPr userDrawn="1"/>
        </p:nvSpPr>
        <p:spPr>
          <a:xfrm>
            <a:off x="0" y="-8238"/>
            <a:ext cx="12192000" cy="3543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5AC5782-9956-4A28-9090-97585E3C4EA4}"/>
              </a:ext>
            </a:extLst>
          </p:cNvPr>
          <p:cNvSpPr/>
          <p:nvPr userDrawn="1"/>
        </p:nvSpPr>
        <p:spPr>
          <a:xfrm>
            <a:off x="0" y="34290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3F1AA14-047E-49CB-B7E7-5567060E5078}"/>
              </a:ext>
            </a:extLst>
          </p:cNvPr>
          <p:cNvSpPr/>
          <p:nvPr userDrawn="1"/>
        </p:nvSpPr>
        <p:spPr>
          <a:xfrm>
            <a:off x="6096000" y="6751938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2B8C3BD-09D3-490C-8BB3-D8CC55BA09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2693" y="1367471"/>
            <a:ext cx="2098907" cy="1581570"/>
          </a:xfrm>
          <a:prstGeom prst="rect">
            <a:avLst/>
          </a:prstGeom>
        </p:spPr>
      </p:pic>
      <p:sp>
        <p:nvSpPr>
          <p:cNvPr id="21" name="Titolo 1">
            <a:extLst>
              <a:ext uri="{FF2B5EF4-FFF2-40B4-BE49-F238E27FC236}">
                <a16:creationId xmlns:a16="http://schemas.microsoft.com/office/drawing/2014/main" id="{F0BB45C6-8760-4DFF-A3EC-4E4CEFF26E0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0699" y="3268740"/>
            <a:ext cx="1276088" cy="1866057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ctr" eaLnBrk="1" hangingPunct="1">
              <a:defRPr lang="it-IT" sz="4000" b="1" kern="1200" dirty="0">
                <a:solidFill>
                  <a:srgbClr val="FFFFFF"/>
                </a:solidFill>
                <a:latin typeface="+mn-lt"/>
                <a:ea typeface="+mj-ea"/>
                <a:cs typeface="+mj-cs"/>
              </a:defRPr>
            </a:lvl1pPr>
          </a:lstStyle>
          <a:p>
            <a:pPr eaLnBrk="1" hangingPunct="1"/>
            <a:r>
              <a:rPr lang="en-US" altLang="en-US" sz="3600" b="1" dirty="0">
                <a:solidFill>
                  <a:srgbClr val="FFFFFF"/>
                </a:solidFill>
                <a:cs typeface="Arial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91506183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4F85D4-350A-4934-94C2-B0CF17F11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5ACA7A-E45D-454A-AFEE-88D14AAC514F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805AC1-3FF1-4AF9-8803-3CBBBFF911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EB158-BBFC-43BB-8377-A5774A8AE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icture Placeholder 20">
            <a:extLst>
              <a:ext uri="{FF2B5EF4-FFF2-40B4-BE49-F238E27FC236}">
                <a16:creationId xmlns:a16="http://schemas.microsoft.com/office/drawing/2014/main" id="{11C1103D-CEF6-4A34-BB84-9CD9D6AF06B9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7" name="Picture Placeholder 18">
            <a:extLst>
              <a:ext uri="{FF2B5EF4-FFF2-40B4-BE49-F238E27FC236}">
                <a16:creationId xmlns:a16="http://schemas.microsoft.com/office/drawing/2014/main" id="{B10DB224-1BDC-4CBE-90F4-38C848316105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8" name="Picture Placeholder 19">
            <a:extLst>
              <a:ext uri="{FF2B5EF4-FFF2-40B4-BE49-F238E27FC236}">
                <a16:creationId xmlns:a16="http://schemas.microsoft.com/office/drawing/2014/main" id="{0451E06C-C20B-4542-80E3-B5BF078B8A87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04755668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F9FA7A-FCC0-44E8-ADF7-832DF1328D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1296" y="402794"/>
            <a:ext cx="5568950" cy="582613"/>
          </a:xfrm>
          <a:prstGeom prst="rect">
            <a:avLst/>
          </a:prstGeo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A6C748-72DD-4C78-861F-A78C0222C9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B8E457-AB31-43BD-AB15-FFD9B62AF2FC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EC9F04-8F47-4F4F-A1CD-7BA9AE005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직사각형 7">
            <a:extLst>
              <a:ext uri="{FF2B5EF4-FFF2-40B4-BE49-F238E27FC236}">
                <a16:creationId xmlns:a16="http://schemas.microsoft.com/office/drawing/2014/main" id="{8B5DE974-BFF0-4731-95F9-6EEFBA0F11BE}"/>
              </a:ext>
            </a:extLst>
          </p:cNvPr>
          <p:cNvSpPr/>
          <p:nvPr userDrawn="1"/>
        </p:nvSpPr>
        <p:spPr>
          <a:xfrm>
            <a:off x="0" y="2362200"/>
            <a:ext cx="12191999" cy="2133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그림 개체 틀 6">
            <a:extLst>
              <a:ext uri="{FF2B5EF4-FFF2-40B4-BE49-F238E27FC236}">
                <a16:creationId xmlns:a16="http://schemas.microsoft.com/office/drawing/2014/main" id="{069EA79A-7C3E-4577-896A-2E9E2230893C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534029" y="2"/>
            <a:ext cx="6657973" cy="6857999"/>
          </a:xfrm>
          <a:custGeom>
            <a:avLst/>
            <a:gdLst>
              <a:gd name="connsiteX0" fmla="*/ 2362199 w 6657973"/>
              <a:gd name="connsiteY0" fmla="*/ 0 h 6857999"/>
              <a:gd name="connsiteX1" fmla="*/ 6657973 w 6657973"/>
              <a:gd name="connsiteY1" fmla="*/ 0 h 6857999"/>
              <a:gd name="connsiteX2" fmla="*/ 6657973 w 6657973"/>
              <a:gd name="connsiteY2" fmla="*/ 3630706 h 6857999"/>
              <a:gd name="connsiteX3" fmla="*/ 6657972 w 6657973"/>
              <a:gd name="connsiteY3" fmla="*/ 6857999 h 6857999"/>
              <a:gd name="connsiteX4" fmla="*/ 2362198 w 6657973"/>
              <a:gd name="connsiteY4" fmla="*/ 6857999 h 6857999"/>
              <a:gd name="connsiteX5" fmla="*/ 2362198 w 6657973"/>
              <a:gd name="connsiteY5" fmla="*/ 6857999 h 6857999"/>
              <a:gd name="connsiteX6" fmla="*/ 0 w 6657973"/>
              <a:gd name="connsiteY6" fmla="*/ 343853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57973" h="6857999">
                <a:moveTo>
                  <a:pt x="2362199" y="0"/>
                </a:moveTo>
                <a:lnTo>
                  <a:pt x="6657973" y="0"/>
                </a:lnTo>
                <a:lnTo>
                  <a:pt x="6657973" y="3630706"/>
                </a:lnTo>
                <a:lnTo>
                  <a:pt x="6657972" y="6857999"/>
                </a:lnTo>
                <a:lnTo>
                  <a:pt x="2362198" y="6857999"/>
                </a:lnTo>
                <a:lnTo>
                  <a:pt x="2362198" y="6857999"/>
                </a:lnTo>
                <a:lnTo>
                  <a:pt x="0" y="34385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D550EE-67B9-43DA-9CFD-4C1DCE163A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22825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boxes with line separation and shad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testo 11"/>
          <p:cNvSpPr>
            <a:spLocks noGrp="1"/>
          </p:cNvSpPr>
          <p:nvPr>
            <p:ph type="body" sz="quarter" idx="10"/>
          </p:nvPr>
        </p:nvSpPr>
        <p:spPr>
          <a:xfrm>
            <a:off x="640799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01B1C9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Segnaposto testo 13"/>
          <p:cNvSpPr>
            <a:spLocks noGrp="1"/>
          </p:cNvSpPr>
          <p:nvPr>
            <p:ph type="body" sz="quarter" idx="11"/>
          </p:nvPr>
        </p:nvSpPr>
        <p:spPr>
          <a:xfrm>
            <a:off x="4460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2"/>
          </p:nvPr>
        </p:nvSpPr>
        <p:spPr>
          <a:xfrm>
            <a:off x="8276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chemeClr val="bg1">
                <a:lumMod val="75000"/>
              </a:schemeClr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8" name="Connettore 1 13"/>
          <p:cNvCxnSpPr/>
          <p:nvPr userDrawn="1"/>
        </p:nvCxnSpPr>
        <p:spPr>
          <a:xfrm>
            <a:off x="4070685" y="113107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1 13"/>
          <p:cNvCxnSpPr/>
          <p:nvPr userDrawn="1"/>
        </p:nvCxnSpPr>
        <p:spPr>
          <a:xfrm>
            <a:off x="7880684" y="113040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egnaposto testo 31"/>
          <p:cNvSpPr>
            <a:spLocks noGrp="1"/>
          </p:cNvSpPr>
          <p:nvPr>
            <p:ph type="body" sz="quarter" idx="16"/>
          </p:nvPr>
        </p:nvSpPr>
        <p:spPr>
          <a:xfrm>
            <a:off x="1389600" y="5407200"/>
            <a:ext cx="9486000" cy="7308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>
            <a:normAutofit/>
          </a:bodyPr>
          <a:lstStyle>
            <a:lvl1pPr algn="ctr">
              <a:buNone/>
              <a:defRPr sz="1600" b="1" i="0" baseline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Segnaposto testo 19"/>
          <p:cNvSpPr>
            <a:spLocks noGrp="1"/>
          </p:cNvSpPr>
          <p:nvPr>
            <p:ph type="body" sz="quarter" idx="17" hasCustomPrompt="1"/>
          </p:nvPr>
        </p:nvSpPr>
        <p:spPr>
          <a:xfrm>
            <a:off x="640800" y="2209575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21" name="Segnaposto testo 19"/>
          <p:cNvSpPr>
            <a:spLocks noGrp="1"/>
          </p:cNvSpPr>
          <p:nvPr>
            <p:ph type="body" sz="quarter" idx="18" hasCustomPrompt="1"/>
          </p:nvPr>
        </p:nvSpPr>
        <p:spPr>
          <a:xfrm>
            <a:off x="4460400" y="2242232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22" name="Segnaposto testo 19"/>
          <p:cNvSpPr>
            <a:spLocks noGrp="1"/>
          </p:cNvSpPr>
          <p:nvPr>
            <p:ph type="body" sz="quarter" idx="19" hasCustomPrompt="1"/>
          </p:nvPr>
        </p:nvSpPr>
        <p:spPr>
          <a:xfrm>
            <a:off x="8276400" y="2264004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F38597D-6639-4651-9FC9-D2811A24DC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9" name="Segnaposto numero diapositiva 2">
            <a:extLst>
              <a:ext uri="{FF2B5EF4-FFF2-40B4-BE49-F238E27FC236}">
                <a16:creationId xmlns:a16="http://schemas.microsoft.com/office/drawing/2014/main" id="{3166C9D8-2E46-423D-81F4-E0718F7BC86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15" name="Segnaposto piè di pagina 2">
            <a:extLst>
              <a:ext uri="{FF2B5EF4-FFF2-40B4-BE49-F238E27FC236}">
                <a16:creationId xmlns:a16="http://schemas.microsoft.com/office/drawing/2014/main" id="{EE68494A-2ABD-4E05-8AB9-7A667971AF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98951932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A241F4F-C16C-4747-B37C-642EF39ECC44}"/>
              </a:ext>
            </a:extLst>
          </p:cNvPr>
          <p:cNvSpPr/>
          <p:nvPr userDrawn="1"/>
        </p:nvSpPr>
        <p:spPr>
          <a:xfrm>
            <a:off x="0" y="3543300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AFE592-FBF3-49A2-95E7-8917B7DD4DF4}"/>
              </a:ext>
            </a:extLst>
          </p:cNvPr>
          <p:cNvSpPr/>
          <p:nvPr userDrawn="1"/>
        </p:nvSpPr>
        <p:spPr>
          <a:xfrm>
            <a:off x="6096000" y="6754812"/>
            <a:ext cx="6096000" cy="103188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AF9BB6F-1977-43D2-802F-64D37E3FB1DE}"/>
              </a:ext>
            </a:extLst>
          </p:cNvPr>
          <p:cNvSpPr/>
          <p:nvPr userDrawn="1"/>
        </p:nvSpPr>
        <p:spPr>
          <a:xfrm>
            <a:off x="0" y="0"/>
            <a:ext cx="12192000" cy="3543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1F5FAC-9DE8-4A62-BF70-AD6851D91F31}"/>
              </a:ext>
            </a:extLst>
          </p:cNvPr>
          <p:cNvSpPr txBox="1"/>
          <p:nvPr userDrawn="1"/>
        </p:nvSpPr>
        <p:spPr>
          <a:xfrm>
            <a:off x="4378777" y="2584036"/>
            <a:ext cx="455204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400" dirty="0">
                <a:solidFill>
                  <a:schemeClr val="accent1"/>
                </a:solidFill>
                <a:cs typeface="Arial" pitchFamily="34" charset="0"/>
              </a:rPr>
              <a:t>Thank You!</a:t>
            </a:r>
            <a:endParaRPr lang="ko-KR" altLang="en-US" sz="5400" dirty="0">
              <a:solidFill>
                <a:schemeClr val="accent1"/>
              </a:solidFill>
              <a:cs typeface="Arial" pitchFamily="34" charset="0"/>
            </a:endParaRPr>
          </a:p>
          <a:p>
            <a:endParaRPr lang="en-GB" sz="5400" dirty="0">
              <a:solidFill>
                <a:schemeClr val="accent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B0FD7B9-2459-4D74-A331-FD4317680EC7}"/>
              </a:ext>
            </a:extLst>
          </p:cNvPr>
          <p:cNvSpPr/>
          <p:nvPr userDrawn="1"/>
        </p:nvSpPr>
        <p:spPr>
          <a:xfrm>
            <a:off x="0" y="34417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</p:spTree>
    <p:extLst>
      <p:ext uri="{BB962C8B-B14F-4D97-AF65-F5344CB8AC3E}">
        <p14:creationId xmlns:p14="http://schemas.microsoft.com/office/powerpoint/2010/main" val="172072470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rgbClr val="00B0C8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5331333" y="6574256"/>
            <a:ext cx="638810" cy="127634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rgbClr val="7E7E7E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65"/>
              </a:lnSpc>
            </a:pPr>
            <a:r>
              <a:rPr spc="-5" dirty="0"/>
              <a:t>CONFIDENTIAL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9096247" y="6574256"/>
            <a:ext cx="1933575" cy="127634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rgbClr val="7E7E7E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65"/>
              </a:lnSpc>
            </a:pPr>
            <a:r>
              <a:rPr dirty="0"/>
              <a:t>KA</a:t>
            </a:r>
            <a:r>
              <a:rPr spc="-5" dirty="0"/>
              <a:t>R</a:t>
            </a:r>
            <a:r>
              <a:rPr dirty="0"/>
              <a:t>ACHA</a:t>
            </a:r>
            <a:r>
              <a:rPr spc="-5" dirty="0"/>
              <a:t>G</a:t>
            </a:r>
            <a:r>
              <a:rPr dirty="0"/>
              <a:t>A</a:t>
            </a:r>
            <a:r>
              <a:rPr spc="-5" dirty="0"/>
              <a:t>N</a:t>
            </a:r>
            <a:r>
              <a:rPr spc="-10" dirty="0"/>
              <a:t>A</a:t>
            </a:r>
            <a:r>
              <a:rPr dirty="0"/>
              <a:t>K</a:t>
            </a:r>
            <a:r>
              <a:rPr spc="-50" dirty="0"/>
              <a:t> </a:t>
            </a:r>
            <a:r>
              <a:rPr dirty="0"/>
              <a:t>PET</a:t>
            </a:r>
            <a:r>
              <a:rPr spc="-5" dirty="0"/>
              <a:t>ROLEU</a:t>
            </a:r>
            <a:r>
              <a:rPr dirty="0"/>
              <a:t>M</a:t>
            </a:r>
            <a:r>
              <a:rPr spc="-30" dirty="0"/>
              <a:t> </a:t>
            </a:r>
            <a:r>
              <a:rPr spc="-5" dirty="0"/>
              <a:t>O</a:t>
            </a:r>
            <a:r>
              <a:rPr dirty="0"/>
              <a:t>PE</a:t>
            </a:r>
            <a:r>
              <a:rPr spc="-5" dirty="0"/>
              <a:t>R</a:t>
            </a:r>
            <a:r>
              <a:rPr dirty="0"/>
              <a:t>ATING</a:t>
            </a:r>
            <a:r>
              <a:rPr spc="-55" dirty="0"/>
              <a:t> </a:t>
            </a:r>
            <a:r>
              <a:rPr spc="-10" dirty="0"/>
              <a:t>B</a:t>
            </a:r>
            <a:r>
              <a:rPr spc="-5" dirty="0"/>
              <a:t>.V</a:t>
            </a: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7E7E7E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865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3393078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rgbClr val="00B0C8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5331333" y="6574256"/>
            <a:ext cx="638810" cy="127634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rgbClr val="7E7E7E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65"/>
              </a:lnSpc>
            </a:pPr>
            <a:r>
              <a:rPr spc="-5" dirty="0"/>
              <a:t>CONFIDENTIAL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9096247" y="6574256"/>
            <a:ext cx="1933575" cy="127634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rgbClr val="7E7E7E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65"/>
              </a:lnSpc>
            </a:pPr>
            <a:r>
              <a:rPr dirty="0"/>
              <a:t>KA</a:t>
            </a:r>
            <a:r>
              <a:rPr spc="-5" dirty="0"/>
              <a:t>R</a:t>
            </a:r>
            <a:r>
              <a:rPr dirty="0"/>
              <a:t>ACHA</a:t>
            </a:r>
            <a:r>
              <a:rPr spc="-5" dirty="0"/>
              <a:t>G</a:t>
            </a:r>
            <a:r>
              <a:rPr dirty="0"/>
              <a:t>A</a:t>
            </a:r>
            <a:r>
              <a:rPr spc="-5" dirty="0"/>
              <a:t>N</a:t>
            </a:r>
            <a:r>
              <a:rPr spc="-10" dirty="0"/>
              <a:t>A</a:t>
            </a:r>
            <a:r>
              <a:rPr dirty="0"/>
              <a:t>K</a:t>
            </a:r>
            <a:r>
              <a:rPr spc="-50" dirty="0"/>
              <a:t> </a:t>
            </a:r>
            <a:r>
              <a:rPr dirty="0"/>
              <a:t>PET</a:t>
            </a:r>
            <a:r>
              <a:rPr spc="-5" dirty="0"/>
              <a:t>ROLEU</a:t>
            </a:r>
            <a:r>
              <a:rPr dirty="0"/>
              <a:t>M</a:t>
            </a:r>
            <a:r>
              <a:rPr spc="-30" dirty="0"/>
              <a:t> </a:t>
            </a:r>
            <a:r>
              <a:rPr spc="-5" dirty="0"/>
              <a:t>O</a:t>
            </a:r>
            <a:r>
              <a:rPr dirty="0"/>
              <a:t>PE</a:t>
            </a:r>
            <a:r>
              <a:rPr spc="-5" dirty="0"/>
              <a:t>R</a:t>
            </a:r>
            <a:r>
              <a:rPr dirty="0"/>
              <a:t>ATING</a:t>
            </a:r>
            <a:r>
              <a:rPr spc="-55" dirty="0"/>
              <a:t> </a:t>
            </a:r>
            <a:r>
              <a:rPr spc="-10" dirty="0"/>
              <a:t>B</a:t>
            </a:r>
            <a:r>
              <a:rPr spc="-5" dirty="0"/>
              <a:t>.V</a:t>
            </a: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7E7E7E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865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2354641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0122" y="221437"/>
            <a:ext cx="8191754" cy="51435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09599" y="1066803"/>
            <a:ext cx="11121292" cy="464820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982288-1092-4552-A3DB-040C6FAAC67D}" type="datetime1">
              <a:rPr lang="ru-RU"/>
              <a:pPr>
                <a:defRPr/>
              </a:pPr>
              <a:t>22.12.2025</a:t>
            </a:fld>
            <a:r>
              <a:rPr lang="en-US"/>
              <a:t>29/01/2014</a:t>
            </a:r>
            <a:endParaRPr lang="en-US">
              <a:solidFill>
                <a:srgbClr val="7F7F7F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JOC 18 March 2014</a:t>
            </a:r>
          </a:p>
          <a:p>
            <a:pPr>
              <a:defRPr/>
            </a:pPr>
            <a:endParaRPr lang="en-US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C1FD74-B1F5-4706-9D9D-63638243D132}" type="slidenum">
              <a:rPr lang="en-US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331357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3F82AA-6A3C-4B7E-8611-DE58C4244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229" y="403225"/>
            <a:ext cx="4921541" cy="473075"/>
          </a:xfrm>
          <a:prstGeom prst="rect">
            <a:avLst/>
          </a:prstGeom>
        </p:spPr>
        <p:txBody>
          <a:bodyPr/>
          <a:lstStyle>
            <a:lvl1pPr algn="ctr"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8DEA17-3889-4D77-AD3E-7CA42BD25B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62E90-CA0C-4467-8A15-A230BBAA45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9A4455-E56D-4A2B-AC9E-10EA0546D5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640440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- 2 blocks seperate titles AND shaded NO lin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715992" y="2113472"/>
            <a:ext cx="5167223" cy="40761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n-lt"/>
              </a:defRPr>
            </a:lvl1pPr>
            <a:lvl2pPr>
              <a:buClr>
                <a:srgbClr val="01B1C9"/>
              </a:buClr>
              <a:defRPr sz="20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 marL="2057349" indent="-228594">
              <a:buFont typeface="Arial" panose="020B0604020202020204" pitchFamily="34" charset="0"/>
              <a:buChar char="√"/>
              <a:defRPr sz="16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206400" y="2113472"/>
            <a:ext cx="5259380" cy="4076191"/>
          </a:xfrm>
          <a:prstGeom prst="rect">
            <a:avLst/>
          </a:prstGeom>
        </p:spPr>
        <p:txBody>
          <a:bodyPr/>
          <a:lstStyle>
            <a:lvl2pPr>
              <a:buClr>
                <a:srgbClr val="01B1C9"/>
              </a:buClr>
              <a:defRPr/>
            </a:lvl2pPr>
            <a:lvl5pPr marL="2057349" indent="-228594">
              <a:buFont typeface="Arial" panose="020B0604020202020204" pitchFamily="34" charset="0"/>
              <a:buChar char="√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3"/>
          </p:nvPr>
        </p:nvSpPr>
        <p:spPr>
          <a:xfrm>
            <a:off x="1289095" y="1408026"/>
            <a:ext cx="4021016" cy="369332"/>
          </a:xfrm>
          <a:prstGeom prst="rect">
            <a:avLst/>
          </a:prstGeom>
          <a:solidFill>
            <a:schemeClr val="bg1"/>
          </a:solidFill>
          <a:effectLst>
            <a:outerShdw dist="101600" dir="8100000" algn="tr" rotWithShape="0">
              <a:srgbClr val="FFD500"/>
            </a:outerShdw>
          </a:effectLst>
        </p:spPr>
        <p:txBody>
          <a:bodyPr anchor="b" anchorCtr="1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egnaposto testo 4"/>
          <p:cNvSpPr>
            <a:spLocks noGrp="1"/>
          </p:cNvSpPr>
          <p:nvPr>
            <p:ph type="body" sz="quarter" idx="14"/>
          </p:nvPr>
        </p:nvSpPr>
        <p:spPr>
          <a:xfrm>
            <a:off x="6778892" y="1408026"/>
            <a:ext cx="4021016" cy="369332"/>
          </a:xfrm>
          <a:prstGeom prst="rect">
            <a:avLst/>
          </a:prstGeom>
          <a:solidFill>
            <a:schemeClr val="bg1"/>
          </a:solidFill>
          <a:effectLst>
            <a:outerShdw dist="101600" dir="8100000" algn="tr" rotWithShape="0">
              <a:srgbClr val="01B1C9"/>
            </a:outerShdw>
          </a:effectLst>
        </p:spPr>
        <p:txBody>
          <a:bodyPr anchor="b" anchorCtr="1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6AECEC4-CA18-4F9C-AD5A-AE47FDBBED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>
              <a:solidFill>
                <a:schemeClr val="accent3"/>
              </a:solidFill>
            </a:endParaRP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1EBAD1B-C8F9-42F7-9045-A425ED5A8EE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-2250057" y="65019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3AD7C01-B994-4A99-BE98-CE15A6753C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Segnaposto piè di pagina 2">
            <a:extLst>
              <a:ext uri="{FF2B5EF4-FFF2-40B4-BE49-F238E27FC236}">
                <a16:creationId xmlns:a16="http://schemas.microsoft.com/office/drawing/2014/main" id="{DB2EEC1D-FF36-4B27-B3B0-B5AA39F48F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ru-RU" sz="800"/>
              <a:t>DD/MM/YY                                                                                                                                                                                            КОНФИДЕНЦИАЛЬНО                                                                                                                         КАРАЧАГАНАК ПЕТРОЛИУМ ОПЕРЕЙТИНГ Б.В.</a:t>
            </a:r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331663781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8A0D947-5931-4227-AE62-D40527E3E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>
              <a:solidFill>
                <a:schemeClr val="accent3"/>
              </a:solidFill>
            </a:endParaRPr>
          </a:p>
        </p:txBody>
      </p:sp>
      <p:sp>
        <p:nvSpPr>
          <p:cNvPr id="8" name="Picture Placeholder 20">
            <a:extLst>
              <a:ext uri="{FF2B5EF4-FFF2-40B4-BE49-F238E27FC236}">
                <a16:creationId xmlns:a16="http://schemas.microsoft.com/office/drawing/2014/main" id="{96AD8E23-45D7-4015-82F4-4F1D08D2ECEE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8093A54E-85BE-4508-BF9A-913B28F2A189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31980FD1-C947-46A3-8D90-A079E14193C0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A8D2DAEB-66F2-4129-A652-4A3243251D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50057" y="65019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3AD7C01-B994-4A99-BE98-CE15A6753C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Segnaposto piè di pagina 2">
            <a:extLst>
              <a:ext uri="{FF2B5EF4-FFF2-40B4-BE49-F238E27FC236}">
                <a16:creationId xmlns:a16="http://schemas.microsoft.com/office/drawing/2014/main" id="{58DB64D0-F8CD-41A0-A690-13BFE43EE7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ru-RU" sz="800"/>
              <a:t>DD/MM/YY                                                                                                                                                                                            КОНФИДЕНЦИАЛЬНО                                                                                                                         КАРАЧАГАНАК ПЕТРОЛИУМ ОПЕРЕЙТИНГ Б.В.</a:t>
            </a:r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152556179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eparator 50% transpar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/>
          <p:cNvSpPr>
            <a:spLocks noGrp="1"/>
          </p:cNvSpPr>
          <p:nvPr>
            <p:ph type="pic" sz="quarter" idx="11"/>
          </p:nvPr>
        </p:nvSpPr>
        <p:spPr>
          <a:xfrm>
            <a:off x="0" y="858414"/>
            <a:ext cx="12192000" cy="5989320"/>
          </a:xfrm>
          <a:prstGeom prst="rect">
            <a:avLst/>
          </a:prstGeom>
          <a:solidFill>
            <a:srgbClr val="F3BF00">
              <a:alpha val="49804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6826B66-8BF2-45BB-AE23-4E8194445E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>
              <a:solidFill>
                <a:schemeClr val="accent3"/>
              </a:solidFill>
            </a:endParaRPr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B6034F4E-F965-4C0D-8959-4A78D83A0E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50057" y="65019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3AD7C01-B994-4A99-BE98-CE15A6753C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Segnaposto piè di pagina 2">
            <a:extLst>
              <a:ext uri="{FF2B5EF4-FFF2-40B4-BE49-F238E27FC236}">
                <a16:creationId xmlns:a16="http://schemas.microsoft.com/office/drawing/2014/main" id="{7F36440E-FEAF-43AC-B20E-05887B2558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ru-RU" sz="800"/>
              <a:t>DD/MM/YY                                                                                                                                                                                            КОНФИДЕНЦИАЛЬНО                                                                                                                         КАРАЧАГАНАК ПЕТРОЛИУМ ОПЕРЕЙТИНГ Б.В.</a:t>
            </a:r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232709490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gress char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magine 8">
            <a:extLst>
              <a:ext uri="{FF2B5EF4-FFF2-40B4-BE49-F238E27FC236}">
                <a16:creationId xmlns:a16="http://schemas.microsoft.com/office/drawing/2014/main" id="{708B99D3-A207-45CD-ACBC-0C0401B2C5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3" name="Segnaposto immagine 2"/>
          <p:cNvSpPr>
            <a:spLocks noGrp="1"/>
          </p:cNvSpPr>
          <p:nvPr>
            <p:ph type="pic" sz="quarter" idx="14"/>
          </p:nvPr>
        </p:nvSpPr>
        <p:spPr>
          <a:xfrm>
            <a:off x="0" y="857091"/>
            <a:ext cx="6209955" cy="598932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1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1 w 10000"/>
              <a:gd name="connsiteY4" fmla="*/ 0 h 10000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10002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7751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10000">
                <a:moveTo>
                  <a:pt x="2" y="0"/>
                </a:moveTo>
                <a:lnTo>
                  <a:pt x="10002" y="0"/>
                </a:lnTo>
                <a:lnTo>
                  <a:pt x="7751" y="10000"/>
                </a:lnTo>
                <a:lnTo>
                  <a:pt x="2" y="10000"/>
                </a:lnTo>
                <a:cubicBezTo>
                  <a:pt x="9" y="6667"/>
                  <a:pt x="-5" y="3333"/>
                  <a:pt x="2" y="0"/>
                </a:cubicBezTo>
                <a:close/>
              </a:path>
            </a:pathLst>
          </a:custGeom>
          <a:solidFill>
            <a:srgbClr val="FFD500">
              <a:alpha val="50000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3313667" y="1969732"/>
            <a:ext cx="3682800" cy="3682800"/>
          </a:xfrm>
          <a:prstGeom prst="ellipse">
            <a:avLst/>
          </a:prstGeom>
          <a:solidFill>
            <a:srgbClr val="C6C6C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egnaposto tabella 7"/>
          <p:cNvSpPr>
            <a:spLocks noGrp="1"/>
          </p:cNvSpPr>
          <p:nvPr>
            <p:ph type="tbl" sz="quarter" idx="15"/>
          </p:nvPr>
        </p:nvSpPr>
        <p:spPr>
          <a:xfrm>
            <a:off x="7249886" y="950400"/>
            <a:ext cx="4354125" cy="38268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table</a:t>
            </a:r>
            <a:endParaRPr lang="it-IT"/>
          </a:p>
        </p:txBody>
      </p:sp>
      <p:sp>
        <p:nvSpPr>
          <p:cNvPr id="12" name="Segnaposto grafico 11"/>
          <p:cNvSpPr>
            <a:spLocks noGrp="1"/>
          </p:cNvSpPr>
          <p:nvPr>
            <p:ph type="chart" sz="quarter" idx="16"/>
          </p:nvPr>
        </p:nvSpPr>
        <p:spPr>
          <a:xfrm>
            <a:off x="7249887" y="5652532"/>
            <a:ext cx="4354124" cy="763587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chart</a:t>
            </a:r>
            <a:endParaRPr lang="it-IT"/>
          </a:p>
        </p:txBody>
      </p:sp>
      <p:sp>
        <p:nvSpPr>
          <p:cNvPr id="14" name="Segnaposto tabella 13"/>
          <p:cNvSpPr>
            <a:spLocks noGrp="1"/>
          </p:cNvSpPr>
          <p:nvPr>
            <p:ph type="tbl" sz="quarter" idx="17"/>
          </p:nvPr>
        </p:nvSpPr>
        <p:spPr>
          <a:xfrm>
            <a:off x="7250566" y="4934575"/>
            <a:ext cx="4354124" cy="55721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table</a:t>
            </a:r>
            <a:endParaRPr lang="it-IT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E64CCC5-F333-41FC-861A-7DBFE58CE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>
              <a:solidFill>
                <a:schemeClr val="accent3"/>
              </a:solidFill>
            </a:endParaRPr>
          </a:p>
        </p:txBody>
      </p:sp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66A996D4-EE76-4DED-B897-6C00607B9E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50057" y="65019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3AD7C01-B994-4A99-BE98-CE15A6753C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Segnaposto piè di pagina 2">
            <a:extLst>
              <a:ext uri="{FF2B5EF4-FFF2-40B4-BE49-F238E27FC236}">
                <a16:creationId xmlns:a16="http://schemas.microsoft.com/office/drawing/2014/main" id="{4438986E-B419-4E39-B1D0-14417F0E6B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ru-RU" sz="800"/>
              <a:t>DD/MM/YY                                                                                                                                                                                            КОНФИДЕНЦИАЛЬНО                                                                                                                         КАРАЧАГАНАК ПЕТРОЛИУМ ОПЕРЕЙТИНГ Б.В.</a:t>
            </a:r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197387490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gress char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/>
          <p:cNvSpPr>
            <a:spLocks noGrp="1"/>
          </p:cNvSpPr>
          <p:nvPr>
            <p:ph type="pic" sz="quarter" idx="14"/>
          </p:nvPr>
        </p:nvSpPr>
        <p:spPr>
          <a:xfrm>
            <a:off x="0" y="785257"/>
            <a:ext cx="6209955" cy="598932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1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1 w 10000"/>
              <a:gd name="connsiteY4" fmla="*/ 0 h 10000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10002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7751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10000">
                <a:moveTo>
                  <a:pt x="2" y="0"/>
                </a:moveTo>
                <a:lnTo>
                  <a:pt x="10002" y="0"/>
                </a:lnTo>
                <a:lnTo>
                  <a:pt x="7751" y="10000"/>
                </a:lnTo>
                <a:lnTo>
                  <a:pt x="2" y="10000"/>
                </a:lnTo>
                <a:cubicBezTo>
                  <a:pt x="9" y="6667"/>
                  <a:pt x="-5" y="3333"/>
                  <a:pt x="2" y="0"/>
                </a:cubicBezTo>
                <a:close/>
              </a:path>
            </a:pathLst>
          </a:custGeom>
          <a:solidFill>
            <a:srgbClr val="F3BF00">
              <a:alpha val="49804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1135965" y="1138334"/>
            <a:ext cx="5333529" cy="5297529"/>
          </a:xfrm>
          <a:prstGeom prst="ellipse">
            <a:avLst/>
          </a:prstGeom>
          <a:solidFill>
            <a:srgbClr val="C6C6C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egnaposto tabella 7"/>
          <p:cNvSpPr>
            <a:spLocks noGrp="1"/>
          </p:cNvSpPr>
          <p:nvPr>
            <p:ph type="tbl" sz="quarter" idx="15"/>
          </p:nvPr>
        </p:nvSpPr>
        <p:spPr>
          <a:xfrm>
            <a:off x="6587411" y="4273984"/>
            <a:ext cx="5016599" cy="220973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table</a:t>
            </a:r>
            <a:endParaRPr lang="it-IT"/>
          </a:p>
        </p:txBody>
      </p:sp>
      <p:sp>
        <p:nvSpPr>
          <p:cNvPr id="12" name="Segnaposto grafico 11"/>
          <p:cNvSpPr>
            <a:spLocks noGrp="1"/>
          </p:cNvSpPr>
          <p:nvPr>
            <p:ph type="chart" sz="quarter" idx="16"/>
          </p:nvPr>
        </p:nvSpPr>
        <p:spPr>
          <a:xfrm>
            <a:off x="6587413" y="964413"/>
            <a:ext cx="5016598" cy="3237737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chart</a:t>
            </a:r>
            <a:endParaRPr lang="it-IT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42EF16D-AB05-4D59-8925-A96DDA1D81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>
              <a:solidFill>
                <a:schemeClr val="accent3"/>
              </a:solidFill>
            </a:endParaRP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89F81EA2-163D-4735-A09D-3584158743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50057" y="65019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3AD7C01-B994-4A99-BE98-CE15A6753C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Segnaposto piè di pagina 2">
            <a:extLst>
              <a:ext uri="{FF2B5EF4-FFF2-40B4-BE49-F238E27FC236}">
                <a16:creationId xmlns:a16="http://schemas.microsoft.com/office/drawing/2014/main" id="{5FA46802-9E8C-4C96-A969-1CD1253B5A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ru-RU" sz="800"/>
              <a:t>DD/MM/YY                                                                                                                                                                                            КОНФИДЕНЦИАЛЬНО                                                                                                                         КАРАЧАГАНАК ПЕТРОЛИУМ ОПЕРЕЙТИНГ Б.В.</a:t>
            </a:r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36224615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7">
            <a:extLst>
              <a:ext uri="{FF2B5EF4-FFF2-40B4-BE49-F238E27FC236}">
                <a16:creationId xmlns:a16="http://schemas.microsoft.com/office/drawing/2014/main" id="{1AAD491E-1EA0-47EE-9B38-C36879304DBF}"/>
              </a:ext>
            </a:extLst>
          </p:cNvPr>
          <p:cNvSpPr/>
          <p:nvPr userDrawn="1"/>
        </p:nvSpPr>
        <p:spPr>
          <a:xfrm>
            <a:off x="0" y="2362200"/>
            <a:ext cx="12191999" cy="2133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그림 개체 틀 6">
            <a:extLst>
              <a:ext uri="{FF2B5EF4-FFF2-40B4-BE49-F238E27FC236}">
                <a16:creationId xmlns:a16="http://schemas.microsoft.com/office/drawing/2014/main" id="{ADA58810-BEDD-4D33-B6DF-414C92F116C0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534029" y="2"/>
            <a:ext cx="6657973" cy="6857999"/>
          </a:xfrm>
          <a:custGeom>
            <a:avLst/>
            <a:gdLst>
              <a:gd name="connsiteX0" fmla="*/ 2362199 w 6657973"/>
              <a:gd name="connsiteY0" fmla="*/ 0 h 6857999"/>
              <a:gd name="connsiteX1" fmla="*/ 6657973 w 6657973"/>
              <a:gd name="connsiteY1" fmla="*/ 0 h 6857999"/>
              <a:gd name="connsiteX2" fmla="*/ 6657973 w 6657973"/>
              <a:gd name="connsiteY2" fmla="*/ 3630706 h 6857999"/>
              <a:gd name="connsiteX3" fmla="*/ 6657972 w 6657973"/>
              <a:gd name="connsiteY3" fmla="*/ 6857999 h 6857999"/>
              <a:gd name="connsiteX4" fmla="*/ 2362198 w 6657973"/>
              <a:gd name="connsiteY4" fmla="*/ 6857999 h 6857999"/>
              <a:gd name="connsiteX5" fmla="*/ 2362198 w 6657973"/>
              <a:gd name="connsiteY5" fmla="*/ 6857999 h 6857999"/>
              <a:gd name="connsiteX6" fmla="*/ 0 w 6657973"/>
              <a:gd name="connsiteY6" fmla="*/ 343853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57973" h="6857999">
                <a:moveTo>
                  <a:pt x="2362199" y="0"/>
                </a:moveTo>
                <a:lnTo>
                  <a:pt x="6657973" y="0"/>
                </a:lnTo>
                <a:lnTo>
                  <a:pt x="6657973" y="3630706"/>
                </a:lnTo>
                <a:lnTo>
                  <a:pt x="6657972" y="6857999"/>
                </a:lnTo>
                <a:lnTo>
                  <a:pt x="2362198" y="6857999"/>
                </a:lnTo>
                <a:lnTo>
                  <a:pt x="2362198" y="6857999"/>
                </a:lnTo>
                <a:lnTo>
                  <a:pt x="0" y="34385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pic>
        <p:nvPicPr>
          <p:cNvPr id="5" name="Immagine 8">
            <a:extLst>
              <a:ext uri="{FF2B5EF4-FFF2-40B4-BE49-F238E27FC236}">
                <a16:creationId xmlns:a16="http://schemas.microsoft.com/office/drawing/2014/main" id="{C902A94B-F441-4C44-A590-8C0E54C089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01247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es with line separation and shad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testo 11"/>
          <p:cNvSpPr>
            <a:spLocks noGrp="1"/>
          </p:cNvSpPr>
          <p:nvPr>
            <p:ph type="body" sz="quarter" idx="10"/>
          </p:nvPr>
        </p:nvSpPr>
        <p:spPr>
          <a:xfrm>
            <a:off x="640799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01B1C9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Segnaposto testo 13"/>
          <p:cNvSpPr>
            <a:spLocks noGrp="1"/>
          </p:cNvSpPr>
          <p:nvPr>
            <p:ph type="body" sz="quarter" idx="11"/>
          </p:nvPr>
        </p:nvSpPr>
        <p:spPr>
          <a:xfrm>
            <a:off x="4460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2"/>
          </p:nvPr>
        </p:nvSpPr>
        <p:spPr>
          <a:xfrm>
            <a:off x="8276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chemeClr val="bg1">
                <a:lumMod val="75000"/>
              </a:schemeClr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8" name="Connettore 1 13"/>
          <p:cNvCxnSpPr/>
          <p:nvPr userDrawn="1"/>
        </p:nvCxnSpPr>
        <p:spPr>
          <a:xfrm>
            <a:off x="4070685" y="113107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1 13"/>
          <p:cNvCxnSpPr/>
          <p:nvPr userDrawn="1"/>
        </p:nvCxnSpPr>
        <p:spPr>
          <a:xfrm>
            <a:off x="7880684" y="113040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egnaposto testo 31"/>
          <p:cNvSpPr>
            <a:spLocks noGrp="1"/>
          </p:cNvSpPr>
          <p:nvPr>
            <p:ph type="body" sz="quarter" idx="16"/>
          </p:nvPr>
        </p:nvSpPr>
        <p:spPr>
          <a:xfrm>
            <a:off x="1389600" y="5407200"/>
            <a:ext cx="9486000" cy="7308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>
            <a:normAutofit/>
          </a:bodyPr>
          <a:lstStyle>
            <a:lvl1pPr algn="ctr">
              <a:buNone/>
              <a:defRPr sz="1600" b="1" i="0" baseline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Segnaposto testo 19"/>
          <p:cNvSpPr>
            <a:spLocks noGrp="1"/>
          </p:cNvSpPr>
          <p:nvPr>
            <p:ph type="body" sz="quarter" idx="17" hasCustomPrompt="1"/>
          </p:nvPr>
        </p:nvSpPr>
        <p:spPr>
          <a:xfrm>
            <a:off x="640800" y="2209575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</p:txBody>
      </p:sp>
      <p:sp>
        <p:nvSpPr>
          <p:cNvPr id="21" name="Segnaposto testo 19"/>
          <p:cNvSpPr>
            <a:spLocks noGrp="1"/>
          </p:cNvSpPr>
          <p:nvPr>
            <p:ph type="body" sz="quarter" idx="18" hasCustomPrompt="1"/>
          </p:nvPr>
        </p:nvSpPr>
        <p:spPr>
          <a:xfrm>
            <a:off x="4460400" y="2242232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</p:txBody>
      </p:sp>
      <p:sp>
        <p:nvSpPr>
          <p:cNvPr id="22" name="Segnaposto testo 19"/>
          <p:cNvSpPr>
            <a:spLocks noGrp="1"/>
          </p:cNvSpPr>
          <p:nvPr>
            <p:ph type="body" sz="quarter" idx="19" hasCustomPrompt="1"/>
          </p:nvPr>
        </p:nvSpPr>
        <p:spPr>
          <a:xfrm>
            <a:off x="8276400" y="2264004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6942CEC-B03D-4250-8A31-6750985414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>
              <a:solidFill>
                <a:schemeClr val="accent3"/>
              </a:solidFill>
            </a:endParaRPr>
          </a:p>
        </p:txBody>
      </p:sp>
      <p:sp>
        <p:nvSpPr>
          <p:cNvPr id="23" name="Slide Number Placeholder 1">
            <a:extLst>
              <a:ext uri="{FF2B5EF4-FFF2-40B4-BE49-F238E27FC236}">
                <a16:creationId xmlns:a16="http://schemas.microsoft.com/office/drawing/2014/main" id="{A1D48FB2-020C-4551-B180-A17C44539C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50057" y="65019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3AD7C01-B994-4A99-BE98-CE15A6753C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Segnaposto piè di pagina 2">
            <a:extLst>
              <a:ext uri="{FF2B5EF4-FFF2-40B4-BE49-F238E27FC236}">
                <a16:creationId xmlns:a16="http://schemas.microsoft.com/office/drawing/2014/main" id="{589678A9-5C82-4F51-912E-824310E0C1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ru-RU" sz="800"/>
              <a:t>DD/MM/YY                                                                                                                                                                                            КОНФИДЕНЦИАЛЬНО                                                                                                                         КАРАЧАГАНАК ПЕТРОЛИУМ ОПЕРЕЙТИНГ Б.В.</a:t>
            </a:r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353366583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boxes with line separation and shad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testo 11"/>
          <p:cNvSpPr>
            <a:spLocks noGrp="1"/>
          </p:cNvSpPr>
          <p:nvPr>
            <p:ph type="body" sz="quarter" idx="10"/>
          </p:nvPr>
        </p:nvSpPr>
        <p:spPr>
          <a:xfrm>
            <a:off x="640799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01B1C9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Segnaposto testo 13"/>
          <p:cNvSpPr>
            <a:spLocks noGrp="1"/>
          </p:cNvSpPr>
          <p:nvPr>
            <p:ph type="body" sz="quarter" idx="11"/>
          </p:nvPr>
        </p:nvSpPr>
        <p:spPr>
          <a:xfrm>
            <a:off x="4460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2"/>
          </p:nvPr>
        </p:nvSpPr>
        <p:spPr>
          <a:xfrm>
            <a:off x="8276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chemeClr val="bg1">
                <a:lumMod val="75000"/>
              </a:schemeClr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8" name="Connettore 1 13"/>
          <p:cNvCxnSpPr/>
          <p:nvPr userDrawn="1"/>
        </p:nvCxnSpPr>
        <p:spPr>
          <a:xfrm>
            <a:off x="4070685" y="113107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1 13"/>
          <p:cNvCxnSpPr/>
          <p:nvPr userDrawn="1"/>
        </p:nvCxnSpPr>
        <p:spPr>
          <a:xfrm>
            <a:off x="7880684" y="113040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egnaposto testo 31"/>
          <p:cNvSpPr>
            <a:spLocks noGrp="1"/>
          </p:cNvSpPr>
          <p:nvPr>
            <p:ph type="body" sz="quarter" idx="16"/>
          </p:nvPr>
        </p:nvSpPr>
        <p:spPr>
          <a:xfrm>
            <a:off x="1389600" y="5407200"/>
            <a:ext cx="9486000" cy="7308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>
            <a:normAutofit/>
          </a:bodyPr>
          <a:lstStyle>
            <a:lvl1pPr algn="ctr">
              <a:buNone/>
              <a:defRPr sz="1600" b="1" i="0" baseline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Segnaposto testo 19"/>
          <p:cNvSpPr>
            <a:spLocks noGrp="1"/>
          </p:cNvSpPr>
          <p:nvPr>
            <p:ph type="body" sz="quarter" idx="17" hasCustomPrompt="1"/>
          </p:nvPr>
        </p:nvSpPr>
        <p:spPr>
          <a:xfrm>
            <a:off x="640800" y="2209575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</p:txBody>
      </p:sp>
      <p:sp>
        <p:nvSpPr>
          <p:cNvPr id="21" name="Segnaposto testo 19"/>
          <p:cNvSpPr>
            <a:spLocks noGrp="1"/>
          </p:cNvSpPr>
          <p:nvPr>
            <p:ph type="body" sz="quarter" idx="18" hasCustomPrompt="1"/>
          </p:nvPr>
        </p:nvSpPr>
        <p:spPr>
          <a:xfrm>
            <a:off x="4460400" y="2242232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</p:txBody>
      </p:sp>
      <p:sp>
        <p:nvSpPr>
          <p:cNvPr id="22" name="Segnaposto testo 19"/>
          <p:cNvSpPr>
            <a:spLocks noGrp="1"/>
          </p:cNvSpPr>
          <p:nvPr>
            <p:ph type="body" sz="quarter" idx="19" hasCustomPrompt="1"/>
          </p:nvPr>
        </p:nvSpPr>
        <p:spPr>
          <a:xfrm>
            <a:off x="8276400" y="2264004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F38597D-6639-4651-9FC9-D2811A24DC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endParaRPr lang="en-GB">
              <a:solidFill>
                <a:schemeClr val="accent3"/>
              </a:solidFill>
            </a:endParaRPr>
          </a:p>
        </p:txBody>
      </p:sp>
      <p:sp>
        <p:nvSpPr>
          <p:cNvPr id="23" name="Slide Number Placeholder 1">
            <a:extLst>
              <a:ext uri="{FF2B5EF4-FFF2-40B4-BE49-F238E27FC236}">
                <a16:creationId xmlns:a16="http://schemas.microsoft.com/office/drawing/2014/main" id="{D9FCB306-347F-4B5E-A5EF-BA9AE0B6D2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50057" y="65019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3AD7C01-B994-4A99-BE98-CE15A6753C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Segnaposto piè di pagina 2">
            <a:extLst>
              <a:ext uri="{FF2B5EF4-FFF2-40B4-BE49-F238E27FC236}">
                <a16:creationId xmlns:a16="http://schemas.microsoft.com/office/drawing/2014/main" id="{6895FDA5-9843-400E-8C05-AD352E2642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ru-RU" sz="800"/>
              <a:t>DD/MM/YY                                                                                                                                                                                            КОНФИДЕНЦИАЛЬНО                                                                                                                         КАРАЧАГАНАК ПЕТРОЛИУМ ОПЕРЕЙТИНГ Б.В.</a:t>
            </a:r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60154057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7">
            <a:extLst>
              <a:ext uri="{FF2B5EF4-FFF2-40B4-BE49-F238E27FC236}">
                <a16:creationId xmlns:a16="http://schemas.microsoft.com/office/drawing/2014/main" id="{1AAD491E-1EA0-47EE-9B38-C36879304DBF}"/>
              </a:ext>
            </a:extLst>
          </p:cNvPr>
          <p:cNvSpPr/>
          <p:nvPr userDrawn="1"/>
        </p:nvSpPr>
        <p:spPr>
          <a:xfrm>
            <a:off x="0" y="2362200"/>
            <a:ext cx="12191999" cy="2133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그림 개체 틀 6">
            <a:extLst>
              <a:ext uri="{FF2B5EF4-FFF2-40B4-BE49-F238E27FC236}">
                <a16:creationId xmlns:a16="http://schemas.microsoft.com/office/drawing/2014/main" id="{ADA58810-BEDD-4D33-B6DF-414C92F116C0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534029" y="2"/>
            <a:ext cx="6657973" cy="6857999"/>
          </a:xfrm>
          <a:custGeom>
            <a:avLst/>
            <a:gdLst>
              <a:gd name="connsiteX0" fmla="*/ 2362199 w 6657973"/>
              <a:gd name="connsiteY0" fmla="*/ 0 h 6857999"/>
              <a:gd name="connsiteX1" fmla="*/ 6657973 w 6657973"/>
              <a:gd name="connsiteY1" fmla="*/ 0 h 6857999"/>
              <a:gd name="connsiteX2" fmla="*/ 6657973 w 6657973"/>
              <a:gd name="connsiteY2" fmla="*/ 3630706 h 6857999"/>
              <a:gd name="connsiteX3" fmla="*/ 6657972 w 6657973"/>
              <a:gd name="connsiteY3" fmla="*/ 6857999 h 6857999"/>
              <a:gd name="connsiteX4" fmla="*/ 2362198 w 6657973"/>
              <a:gd name="connsiteY4" fmla="*/ 6857999 h 6857999"/>
              <a:gd name="connsiteX5" fmla="*/ 2362198 w 6657973"/>
              <a:gd name="connsiteY5" fmla="*/ 6857999 h 6857999"/>
              <a:gd name="connsiteX6" fmla="*/ 0 w 6657973"/>
              <a:gd name="connsiteY6" fmla="*/ 343853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57973" h="6857999">
                <a:moveTo>
                  <a:pt x="2362199" y="0"/>
                </a:moveTo>
                <a:lnTo>
                  <a:pt x="6657973" y="0"/>
                </a:lnTo>
                <a:lnTo>
                  <a:pt x="6657973" y="3630706"/>
                </a:lnTo>
                <a:lnTo>
                  <a:pt x="6657972" y="6857999"/>
                </a:lnTo>
                <a:lnTo>
                  <a:pt x="2362198" y="6857999"/>
                </a:lnTo>
                <a:lnTo>
                  <a:pt x="2362198" y="6857999"/>
                </a:lnTo>
                <a:lnTo>
                  <a:pt x="0" y="34385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/>
              <a:t>Place Your Picture Here</a:t>
            </a:r>
            <a:endParaRPr lang="ko-KR" altLang="en-US"/>
          </a:p>
        </p:txBody>
      </p:sp>
      <p:pic>
        <p:nvPicPr>
          <p:cNvPr id="5" name="Immagine 8">
            <a:extLst>
              <a:ext uri="{FF2B5EF4-FFF2-40B4-BE49-F238E27FC236}">
                <a16:creationId xmlns:a16="http://schemas.microsoft.com/office/drawing/2014/main" id="{C902A94B-F441-4C44-A590-8C0E54C089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0" y="0"/>
            <a:ext cx="12192000" cy="6857999"/>
          </a:xfrm>
          <a:prstGeom prst="rect">
            <a:avLst/>
          </a:prstGeom>
        </p:spPr>
      </p:pic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AD044C03-8874-4992-AEF9-F9FDB6A37B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50057" y="65019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3AD7C01-B994-4A99-BE98-CE15A6753CE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352831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Klogo.w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71322" y="6381038"/>
            <a:ext cx="734521" cy="421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568608" y="6326186"/>
            <a:ext cx="539751" cy="476250"/>
          </a:xfrm>
        </p:spPr>
        <p:txBody>
          <a:bodyPr/>
          <a:lstStyle>
            <a:lvl1pPr>
              <a:defRPr sz="10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2296AE5-B6D8-430E-ABF9-0697BCADBFBB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E533937-0045-4FB6-AB8A-A1E2869FDFDD}"/>
              </a:ext>
            </a:extLst>
          </p:cNvPr>
          <p:cNvSpPr txBox="1"/>
          <p:nvPr userDrawn="1"/>
        </p:nvSpPr>
        <p:spPr>
          <a:xfrm>
            <a:off x="4378777" y="2584036"/>
            <a:ext cx="455204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ko-KR" sz="5400">
                <a:solidFill>
                  <a:schemeClr val="accent1"/>
                </a:solidFill>
                <a:cs typeface="Arial" pitchFamily="34" charset="0"/>
              </a:rPr>
              <a:t>Спасибо!</a:t>
            </a:r>
            <a:endParaRPr lang="ko-KR" altLang="en-US" sz="5400">
              <a:solidFill>
                <a:schemeClr val="accent1"/>
              </a:solidFill>
              <a:cs typeface="Arial" pitchFamily="34" charset="0"/>
            </a:endParaRPr>
          </a:p>
          <a:p>
            <a:endParaRPr lang="en-GB" sz="5400">
              <a:solidFill>
                <a:schemeClr val="accent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6F7AF97-04AE-40B9-A11F-A4C8C07CE5C7}"/>
              </a:ext>
            </a:extLst>
          </p:cNvPr>
          <p:cNvSpPr/>
          <p:nvPr userDrawn="1"/>
        </p:nvSpPr>
        <p:spPr>
          <a:xfrm>
            <a:off x="0" y="3543300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96060A9-32BC-4881-8401-DCF921156793}"/>
              </a:ext>
            </a:extLst>
          </p:cNvPr>
          <p:cNvSpPr/>
          <p:nvPr userDrawn="1"/>
        </p:nvSpPr>
        <p:spPr>
          <a:xfrm>
            <a:off x="0" y="34290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8711E5A-4231-477B-B957-50662A3E4921}"/>
              </a:ext>
            </a:extLst>
          </p:cNvPr>
          <p:cNvSpPr/>
          <p:nvPr userDrawn="1"/>
        </p:nvSpPr>
        <p:spPr>
          <a:xfrm>
            <a:off x="6096000" y="6754812"/>
            <a:ext cx="6096000" cy="103188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</p:spTree>
    <p:extLst>
      <p:ext uri="{BB962C8B-B14F-4D97-AF65-F5344CB8AC3E}">
        <p14:creationId xmlns:p14="http://schemas.microsoft.com/office/powerpoint/2010/main" val="302690556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26F982F-5BC1-957F-1C28-0093A02552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6F982F-5BC1-957F-1C28-0093A02552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855B43B8-51EA-423C-AA9B-BDFD3D5151AC}"/>
              </a:ext>
            </a:extLst>
          </p:cNvPr>
          <p:cNvSpPr/>
          <p:nvPr userDrawn="1"/>
        </p:nvSpPr>
        <p:spPr>
          <a:xfrm>
            <a:off x="0" y="3535062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728B678-13FB-4938-8058-8E21911E9D7A}"/>
              </a:ext>
            </a:extLst>
          </p:cNvPr>
          <p:cNvSpPr/>
          <p:nvPr userDrawn="1"/>
        </p:nvSpPr>
        <p:spPr>
          <a:xfrm>
            <a:off x="683568" y="4149194"/>
            <a:ext cx="770350" cy="1334334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1">
              <a:solidFill>
                <a:srgbClr val="00B5C9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91F3C88-6932-43FB-B127-883BE07E4F68}"/>
              </a:ext>
            </a:extLst>
          </p:cNvPr>
          <p:cNvSpPr/>
          <p:nvPr userDrawn="1"/>
        </p:nvSpPr>
        <p:spPr>
          <a:xfrm>
            <a:off x="0" y="-8238"/>
            <a:ext cx="12192000" cy="3543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5AC5782-9956-4A28-9090-97585E3C4EA4}"/>
              </a:ext>
            </a:extLst>
          </p:cNvPr>
          <p:cNvSpPr/>
          <p:nvPr userDrawn="1"/>
        </p:nvSpPr>
        <p:spPr>
          <a:xfrm>
            <a:off x="0" y="34290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3F1AA14-047E-49CB-B7E7-5567060E5078}"/>
              </a:ext>
            </a:extLst>
          </p:cNvPr>
          <p:cNvSpPr/>
          <p:nvPr userDrawn="1"/>
        </p:nvSpPr>
        <p:spPr>
          <a:xfrm>
            <a:off x="6096000" y="6751938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2B8C3BD-09D3-490C-8BB3-D8CC55BA09E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2693" y="1367471"/>
            <a:ext cx="2098907" cy="1581570"/>
          </a:xfrm>
          <a:prstGeom prst="rect">
            <a:avLst/>
          </a:prstGeom>
        </p:spPr>
      </p:pic>
      <p:sp>
        <p:nvSpPr>
          <p:cNvPr id="21" name="Titolo 1">
            <a:extLst>
              <a:ext uri="{FF2B5EF4-FFF2-40B4-BE49-F238E27FC236}">
                <a16:creationId xmlns:a16="http://schemas.microsoft.com/office/drawing/2014/main" id="{F0BB45C6-8760-4DFF-A3EC-4E4CEFF26E0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0699" y="3268740"/>
            <a:ext cx="1276088" cy="1866057"/>
          </a:xfrm>
          <a:prstGeom prst="rect">
            <a:avLst/>
          </a:prstGeom>
          <a:noFill/>
        </p:spPr>
        <p:txBody>
          <a:bodyPr vert="horz" anchor="b">
            <a:noAutofit/>
          </a:bodyPr>
          <a:lstStyle>
            <a:lvl1pPr algn="ctr" eaLnBrk="1" hangingPunct="1">
              <a:defRPr lang="it-IT" sz="4000" b="1" kern="1200" dirty="0">
                <a:solidFill>
                  <a:srgbClr val="FFFFFF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eaLnBrk="1" hangingPunct="1"/>
            <a:r>
              <a:rPr lang="en-US" altLang="en-US" sz="3600" b="1">
                <a:solidFill>
                  <a:srgbClr val="FFFFFF"/>
                </a:solidFill>
                <a:cs typeface="Arial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0201679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 userDrawn="1"/>
        </p:nvSpPr>
        <p:spPr>
          <a:xfrm>
            <a:off x="354010" y="1131591"/>
            <a:ext cx="3560767" cy="5402561"/>
          </a:xfrm>
          <a:prstGeom prst="roundRect">
            <a:avLst>
              <a:gd name="adj" fmla="val 39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/>
          </a:p>
        </p:txBody>
      </p:sp>
      <p:sp>
        <p:nvSpPr>
          <p:cNvPr id="4" name="Rounded Rectangle 3"/>
          <p:cNvSpPr/>
          <p:nvPr userDrawn="1"/>
        </p:nvSpPr>
        <p:spPr>
          <a:xfrm>
            <a:off x="531933" y="1347500"/>
            <a:ext cx="153868" cy="50152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bg1"/>
              </a:solidFill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3057177" y="1276653"/>
            <a:ext cx="685849" cy="685148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644E8BB-F13A-4AE0-889E-633DE4143787}"/>
              </a:ext>
            </a:extLst>
          </p:cNvPr>
          <p:cNvSpPr txBox="1"/>
          <p:nvPr userDrawn="1"/>
        </p:nvSpPr>
        <p:spPr>
          <a:xfrm>
            <a:off x="711704" y="1637214"/>
            <a:ext cx="223224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>
                <a:solidFill>
                  <a:schemeClr val="bg1"/>
                </a:solidFill>
                <a:latin typeface="+mn-lt"/>
                <a:cs typeface="Arial" pitchFamily="34" charset="0"/>
              </a:rPr>
              <a:t>You can Resize without losing quality</a:t>
            </a:r>
            <a:endParaRPr lang="ko-KR" altLang="en-US" sz="1400" b="1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2CE2B8B-ED32-491A-95B2-D28904BC432C}"/>
              </a:ext>
            </a:extLst>
          </p:cNvPr>
          <p:cNvSpPr txBox="1"/>
          <p:nvPr userDrawn="1"/>
        </p:nvSpPr>
        <p:spPr>
          <a:xfrm>
            <a:off x="711704" y="2444300"/>
            <a:ext cx="2726821" cy="95410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>
                <a:solidFill>
                  <a:schemeClr val="bg1"/>
                </a:solidFill>
                <a:latin typeface="+mj-lt"/>
                <a:cs typeface="Arial" pitchFamily="34" charset="0"/>
              </a:rPr>
              <a:t>You can Change Fill Color &amp;</a:t>
            </a:r>
          </a:p>
          <a:p>
            <a:r>
              <a:rPr lang="en-US" altLang="ko-KR" sz="1400" b="1">
                <a:solidFill>
                  <a:schemeClr val="bg1"/>
                </a:solidFill>
                <a:latin typeface="+mj-lt"/>
                <a:cs typeface="Arial" pitchFamily="34" charset="0"/>
              </a:rPr>
              <a:t>Line Color</a:t>
            </a:r>
          </a:p>
          <a:p>
            <a:endParaRPr lang="en-US" altLang="ko-KR" sz="1400" b="1">
              <a:solidFill>
                <a:schemeClr val="bg1"/>
              </a:solidFill>
              <a:latin typeface="+mj-lt"/>
              <a:cs typeface="Arial" pitchFamily="34" charset="0"/>
            </a:endParaRPr>
          </a:p>
          <a:p>
            <a:endParaRPr lang="ko-KR" altLang="en-US" sz="1400" b="1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711704" y="3094207"/>
            <a:ext cx="266298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Press </a:t>
            </a:r>
            <a:r>
              <a:rPr lang="en-US" b="1"/>
              <a:t>“Format”</a:t>
            </a:r>
          </a:p>
          <a:p>
            <a:r>
              <a:rPr lang="en-US"/>
              <a:t>Choose</a:t>
            </a:r>
            <a:r>
              <a:rPr lang="en-US" baseline="0"/>
              <a:t> color by pressing </a:t>
            </a:r>
            <a:r>
              <a:rPr lang="en-US" b="1" baseline="0"/>
              <a:t>“Shape Fill” or “Shape Outline”</a:t>
            </a:r>
            <a:endParaRPr lang="en-US" b="1"/>
          </a:p>
          <a:p>
            <a:endParaRPr lang="en-GB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DAA65AF9-F919-4661-A862-B9E176C56A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9066"/>
            <a:ext cx="12192000" cy="832023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988226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_ConCom_J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9" name="Rectangle 18"/>
          <p:cNvSpPr/>
          <p:nvPr userDrawn="1"/>
        </p:nvSpPr>
        <p:spPr>
          <a:xfrm>
            <a:off x="-1" y="4244083"/>
            <a:ext cx="9757038" cy="1536700"/>
          </a:xfrm>
          <a:prstGeom prst="rect">
            <a:avLst/>
          </a:prstGeom>
          <a:solidFill>
            <a:srgbClr val="00ABC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8" name="Titolo 1"/>
          <p:cNvSpPr>
            <a:spLocks noGrp="1"/>
          </p:cNvSpPr>
          <p:nvPr>
            <p:ph type="ctrTitle" hasCustomPrompt="1"/>
          </p:nvPr>
        </p:nvSpPr>
        <p:spPr>
          <a:xfrm>
            <a:off x="-1" y="4273616"/>
            <a:ext cx="9757035" cy="506206"/>
          </a:xfrm>
          <a:prstGeom prst="rect">
            <a:avLst/>
          </a:prstGeom>
          <a:noFill/>
        </p:spPr>
        <p:txBody>
          <a:bodyPr anchor="b">
            <a:normAutofit/>
          </a:bodyPr>
          <a:lstStyle>
            <a:lvl1pPr algn="l" eaLnBrk="1" hangingPunct="1">
              <a:defRPr lang="it-IT" sz="3600" b="1" kern="120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eaLnBrk="1" hangingPunct="1"/>
            <a:r>
              <a:rPr lang="en-US" altLang="en-US" sz="3600" b="1" dirty="0">
                <a:solidFill>
                  <a:srgbClr val="FFFFFF"/>
                </a:solidFill>
                <a:cs typeface="Arial" charset="0"/>
              </a:rPr>
              <a:t>JOINT OPERATING COMMITTEE MEETING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quarter" idx="10" hasCustomPrompt="1"/>
          </p:nvPr>
        </p:nvSpPr>
        <p:spPr>
          <a:xfrm>
            <a:off x="1" y="4867058"/>
            <a:ext cx="9757036" cy="9521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800" b="0" i="0" baseline="0">
                <a:solidFill>
                  <a:srgbClr val="FFD500"/>
                </a:solidFill>
              </a:defRPr>
            </a:lvl1pPr>
            <a:lvl2pPr marL="457188" indent="0">
              <a:buFontTx/>
              <a:buNone/>
              <a:defRPr sz="2000" b="1" i="0"/>
            </a:lvl2pPr>
            <a:lvl3pPr marL="914377" indent="0">
              <a:buFontTx/>
              <a:buNone/>
              <a:defRPr sz="2000" b="1" i="0"/>
            </a:lvl3pPr>
            <a:lvl4pPr marL="1371566" indent="0">
              <a:buFontTx/>
              <a:buNone/>
              <a:defRPr sz="2000" b="1" i="0"/>
            </a:lvl4pPr>
            <a:lvl5pPr marL="1828755" indent="0">
              <a:buFontTx/>
              <a:buNone/>
              <a:defRPr sz="2000" b="1" i="0"/>
            </a:lvl5pPr>
          </a:lstStyle>
          <a:p>
            <a:pPr lvl="0"/>
            <a:r>
              <a:rPr lang="it-IT" dirty="0"/>
              <a:t>OpCom / ConCom or JOC and any orther external meetings/forums/sessions/workshops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-1" y="5765296"/>
            <a:ext cx="8089643" cy="126853"/>
          </a:xfrm>
          <a:prstGeom prst="rect">
            <a:avLst/>
          </a:prstGeom>
          <a:solidFill>
            <a:srgbClr val="FBD741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22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0" y="6027467"/>
            <a:ext cx="9144000" cy="5454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FFFF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dirty="0"/>
              <a:t>Location, DD MMM YYYY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613037" y="5726867"/>
            <a:ext cx="215475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/>
              <a:t>© 2021 Karachaganak Petroleum Operating </a:t>
            </a:r>
            <a:r>
              <a:rPr lang="en-GB" sz="800" dirty="0" err="1"/>
              <a:t>b.v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98392615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numero diapositiva 2">
            <a:extLst>
              <a:ext uri="{FF2B5EF4-FFF2-40B4-BE49-F238E27FC236}">
                <a16:creationId xmlns:a16="http://schemas.microsoft.com/office/drawing/2014/main" id="{0663E369-85D8-4AA2-B9C7-C9B09C849A2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5" name="Segnaposto piè di pagina 2">
            <a:extLst>
              <a:ext uri="{FF2B5EF4-FFF2-40B4-BE49-F238E27FC236}">
                <a16:creationId xmlns:a16="http://schemas.microsoft.com/office/drawing/2014/main" id="{EFEC359A-3298-49D2-8C9D-AEFA7A9EDA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46074077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a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E6E27E7-CC38-4027-931D-60332C9F01EE}"/>
              </a:ext>
            </a:extLst>
          </p:cNvPr>
          <p:cNvSpPr/>
          <p:nvPr userDrawn="1"/>
        </p:nvSpPr>
        <p:spPr>
          <a:xfrm>
            <a:off x="0" y="2266689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DC44B6A-AE27-49EB-88BC-311AE80A2A3D}"/>
              </a:ext>
            </a:extLst>
          </p:cNvPr>
          <p:cNvSpPr/>
          <p:nvPr userDrawn="1"/>
        </p:nvSpPr>
        <p:spPr>
          <a:xfrm>
            <a:off x="0" y="34290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96A4FB-8760-48CD-BD01-1895C21C26C4}"/>
              </a:ext>
            </a:extLst>
          </p:cNvPr>
          <p:cNvSpPr/>
          <p:nvPr userDrawn="1"/>
        </p:nvSpPr>
        <p:spPr>
          <a:xfrm>
            <a:off x="683568" y="3914244"/>
            <a:ext cx="770350" cy="1334334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1">
              <a:solidFill>
                <a:srgbClr val="00B5C9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915E9B-C567-4570-9ED5-511D2ECB10D3}"/>
              </a:ext>
            </a:extLst>
          </p:cNvPr>
          <p:cNvSpPr/>
          <p:nvPr userDrawn="1"/>
        </p:nvSpPr>
        <p:spPr>
          <a:xfrm>
            <a:off x="6096000" y="6754812"/>
            <a:ext cx="6096000" cy="103188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0AD4F9E-6EC6-4CDA-B42A-833E27CB1001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Segnaposto numero diapositiva 2">
            <a:extLst>
              <a:ext uri="{FF2B5EF4-FFF2-40B4-BE49-F238E27FC236}">
                <a16:creationId xmlns:a16="http://schemas.microsoft.com/office/drawing/2014/main" id="{A850ED62-A3B7-4801-B80D-B642B800D9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858B94E-595B-4CDB-86C7-146594FB69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0093" y="1352392"/>
            <a:ext cx="2098907" cy="1581570"/>
          </a:xfrm>
          <a:prstGeom prst="rect">
            <a:avLst/>
          </a:prstGeom>
        </p:spPr>
      </p:pic>
      <p:pic>
        <p:nvPicPr>
          <p:cNvPr id="15" name="Immagine 8">
            <a:extLst>
              <a:ext uri="{FF2B5EF4-FFF2-40B4-BE49-F238E27FC236}">
                <a16:creationId xmlns:a16="http://schemas.microsoft.com/office/drawing/2014/main" id="{6A120B41-DBB9-4592-8062-196913E23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60768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7C981FE-A801-4FF1-8F20-E5072BE117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832023"/>
          </a:xfrm>
          <a:prstGeom prst="rect">
            <a:avLst/>
          </a:prstGeom>
        </p:spPr>
        <p:txBody>
          <a:bodyPr/>
          <a:lstStyle>
            <a:lvl1pPr>
              <a:defRPr sz="3200" b="0" cap="none" spc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7" name="Segnaposto numero diapositiva 2">
            <a:extLst>
              <a:ext uri="{FF2B5EF4-FFF2-40B4-BE49-F238E27FC236}">
                <a16:creationId xmlns:a16="http://schemas.microsoft.com/office/drawing/2014/main" id="{7ED0C059-87AB-4CD8-A09F-9327AAB0337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6" name="Segnaposto piè di pagina 2">
            <a:extLst>
              <a:ext uri="{FF2B5EF4-FFF2-40B4-BE49-F238E27FC236}">
                <a16:creationId xmlns:a16="http://schemas.microsoft.com/office/drawing/2014/main" id="{03937854-B971-4785-B88B-DBE80A1539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041761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_ConCom_J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9" name="Rectangle 18"/>
          <p:cNvSpPr/>
          <p:nvPr userDrawn="1"/>
        </p:nvSpPr>
        <p:spPr>
          <a:xfrm>
            <a:off x="-1" y="4244083"/>
            <a:ext cx="9757038" cy="1536700"/>
          </a:xfrm>
          <a:prstGeom prst="rect">
            <a:avLst/>
          </a:prstGeom>
          <a:solidFill>
            <a:srgbClr val="00ABC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8" name="Titolo 1"/>
          <p:cNvSpPr>
            <a:spLocks noGrp="1"/>
          </p:cNvSpPr>
          <p:nvPr>
            <p:ph type="ctrTitle" hasCustomPrompt="1"/>
          </p:nvPr>
        </p:nvSpPr>
        <p:spPr>
          <a:xfrm>
            <a:off x="-1" y="4273616"/>
            <a:ext cx="9757035" cy="506206"/>
          </a:xfrm>
          <a:prstGeom prst="rect">
            <a:avLst/>
          </a:prstGeom>
          <a:noFill/>
        </p:spPr>
        <p:txBody>
          <a:bodyPr anchor="b">
            <a:normAutofit/>
          </a:bodyPr>
          <a:lstStyle>
            <a:lvl1pPr algn="l" eaLnBrk="1" hangingPunct="1">
              <a:defRPr lang="it-IT" sz="3600" b="1" kern="120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eaLnBrk="1" hangingPunct="1"/>
            <a:r>
              <a:rPr lang="en-US" altLang="en-US" sz="3600" b="1" dirty="0">
                <a:solidFill>
                  <a:srgbClr val="FFFFFF"/>
                </a:solidFill>
                <a:cs typeface="Arial" charset="0"/>
              </a:rPr>
              <a:t>JOINT OPERATING COMMITTEE MEETING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quarter" idx="10" hasCustomPrompt="1"/>
          </p:nvPr>
        </p:nvSpPr>
        <p:spPr>
          <a:xfrm>
            <a:off x="1" y="4867058"/>
            <a:ext cx="9757036" cy="9521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800" b="0" i="0" baseline="0">
                <a:solidFill>
                  <a:srgbClr val="FFD500"/>
                </a:solidFill>
              </a:defRPr>
            </a:lvl1pPr>
            <a:lvl2pPr marL="457188" indent="0">
              <a:buFontTx/>
              <a:buNone/>
              <a:defRPr sz="2000" b="1" i="0"/>
            </a:lvl2pPr>
            <a:lvl3pPr marL="914377" indent="0">
              <a:buFontTx/>
              <a:buNone/>
              <a:defRPr sz="2000" b="1" i="0"/>
            </a:lvl3pPr>
            <a:lvl4pPr marL="1371566" indent="0">
              <a:buFontTx/>
              <a:buNone/>
              <a:defRPr sz="2000" b="1" i="0"/>
            </a:lvl4pPr>
            <a:lvl5pPr marL="1828755" indent="0">
              <a:buFontTx/>
              <a:buNone/>
              <a:defRPr sz="2000" b="1" i="0"/>
            </a:lvl5pPr>
          </a:lstStyle>
          <a:p>
            <a:pPr lvl="0"/>
            <a:r>
              <a:rPr lang="it-IT" dirty="0"/>
              <a:t>OpCom / ConCom or JOC and any orther external meetings/forums/sessions/workshops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-1" y="5765296"/>
            <a:ext cx="8089643" cy="126853"/>
          </a:xfrm>
          <a:prstGeom prst="rect">
            <a:avLst/>
          </a:prstGeom>
          <a:solidFill>
            <a:srgbClr val="FBD741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22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0" y="6027467"/>
            <a:ext cx="9144000" cy="5454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FFFF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dirty="0"/>
              <a:t>Location, DD MMM YYYY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613037" y="5726867"/>
            <a:ext cx="215475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/>
              <a:t>© 2021 Karachaganak Petroleum Operating </a:t>
            </a:r>
            <a:r>
              <a:rPr lang="en-GB" sz="800" dirty="0" err="1"/>
              <a:t>b.v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13194284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Klogo.w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71322" y="6381038"/>
            <a:ext cx="734521" cy="421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568608" y="6326186"/>
            <a:ext cx="539751" cy="476250"/>
          </a:xfrm>
        </p:spPr>
        <p:txBody>
          <a:bodyPr/>
          <a:lstStyle>
            <a:lvl1pPr>
              <a:defRPr sz="10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2296AE5-B6D8-430E-ABF9-0697BCADBFBB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E533937-0045-4FB6-AB8A-A1E2869FDFDD}"/>
              </a:ext>
            </a:extLst>
          </p:cNvPr>
          <p:cNvSpPr txBox="1"/>
          <p:nvPr userDrawn="1"/>
        </p:nvSpPr>
        <p:spPr>
          <a:xfrm>
            <a:off x="4378777" y="2584036"/>
            <a:ext cx="455204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400" dirty="0">
                <a:solidFill>
                  <a:schemeClr val="accent1"/>
                </a:solidFill>
                <a:cs typeface="Arial" pitchFamily="34" charset="0"/>
              </a:rPr>
              <a:t>Thank You</a:t>
            </a:r>
            <a:endParaRPr lang="ko-KR" altLang="en-US" sz="5400" dirty="0">
              <a:solidFill>
                <a:schemeClr val="accent1"/>
              </a:solidFill>
              <a:cs typeface="Arial" pitchFamily="34" charset="0"/>
            </a:endParaRPr>
          </a:p>
          <a:p>
            <a:endParaRPr lang="en-GB" sz="5400" dirty="0">
              <a:solidFill>
                <a:schemeClr val="accent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6F7AF97-04AE-40B9-A11F-A4C8C07CE5C7}"/>
              </a:ext>
            </a:extLst>
          </p:cNvPr>
          <p:cNvSpPr/>
          <p:nvPr userDrawn="1"/>
        </p:nvSpPr>
        <p:spPr>
          <a:xfrm>
            <a:off x="0" y="3543300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96060A9-32BC-4881-8401-DCF921156793}"/>
              </a:ext>
            </a:extLst>
          </p:cNvPr>
          <p:cNvSpPr/>
          <p:nvPr userDrawn="1"/>
        </p:nvSpPr>
        <p:spPr>
          <a:xfrm>
            <a:off x="0" y="34290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8711E5A-4231-477B-B957-50662A3E4921}"/>
              </a:ext>
            </a:extLst>
          </p:cNvPr>
          <p:cNvSpPr/>
          <p:nvPr userDrawn="1"/>
        </p:nvSpPr>
        <p:spPr>
          <a:xfrm>
            <a:off x="6096000" y="6754812"/>
            <a:ext cx="6096000" cy="103188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pic>
        <p:nvPicPr>
          <p:cNvPr id="12" name="Immagine 8">
            <a:extLst>
              <a:ext uri="{FF2B5EF4-FFF2-40B4-BE49-F238E27FC236}">
                <a16:creationId xmlns:a16="http://schemas.microsoft.com/office/drawing/2014/main" id="{A42D3984-051C-4CB2-A61A-AFC84C2FC0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23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42692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- 2 blocks seperate titles AND shaded NO lin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715992" y="2113472"/>
            <a:ext cx="5167223" cy="40761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n-lt"/>
              </a:defRPr>
            </a:lvl1pPr>
            <a:lvl2pPr>
              <a:buClr>
                <a:srgbClr val="01B1C9"/>
              </a:buClr>
              <a:defRPr sz="20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 marL="2057349" indent="-228594">
              <a:buFont typeface="Arial" panose="020B0604020202020204" pitchFamily="34" charset="0"/>
              <a:buChar char="√"/>
              <a:defRPr sz="16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206400" y="2113472"/>
            <a:ext cx="5259380" cy="4076191"/>
          </a:xfrm>
          <a:prstGeom prst="rect">
            <a:avLst/>
          </a:prstGeom>
        </p:spPr>
        <p:txBody>
          <a:bodyPr/>
          <a:lstStyle>
            <a:lvl2pPr>
              <a:buClr>
                <a:srgbClr val="01B1C9"/>
              </a:buClr>
              <a:defRPr/>
            </a:lvl2pPr>
            <a:lvl5pPr marL="2057349" indent="-228594">
              <a:buFont typeface="Arial" panose="020B0604020202020204" pitchFamily="34" charset="0"/>
              <a:buChar char="√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3"/>
          </p:nvPr>
        </p:nvSpPr>
        <p:spPr>
          <a:xfrm>
            <a:off x="1289095" y="1408026"/>
            <a:ext cx="4021016" cy="369332"/>
          </a:xfrm>
          <a:prstGeom prst="rect">
            <a:avLst/>
          </a:prstGeom>
          <a:solidFill>
            <a:schemeClr val="bg1"/>
          </a:solidFill>
          <a:effectLst>
            <a:outerShdw dist="101600" dir="8100000" algn="tr" rotWithShape="0">
              <a:srgbClr val="FFD500"/>
            </a:outerShdw>
          </a:effectLst>
        </p:spPr>
        <p:txBody>
          <a:bodyPr anchor="b" anchorCtr="1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egnaposto testo 4"/>
          <p:cNvSpPr>
            <a:spLocks noGrp="1"/>
          </p:cNvSpPr>
          <p:nvPr>
            <p:ph type="body" sz="quarter" idx="14"/>
          </p:nvPr>
        </p:nvSpPr>
        <p:spPr>
          <a:xfrm>
            <a:off x="6778892" y="1408026"/>
            <a:ext cx="4021016" cy="369332"/>
          </a:xfrm>
          <a:prstGeom prst="rect">
            <a:avLst/>
          </a:prstGeom>
          <a:solidFill>
            <a:schemeClr val="bg1"/>
          </a:solidFill>
          <a:effectLst>
            <a:outerShdw dist="101600" dir="8100000" algn="tr" rotWithShape="0">
              <a:srgbClr val="01B1C9"/>
            </a:outerShdw>
          </a:effectLst>
        </p:spPr>
        <p:txBody>
          <a:bodyPr anchor="b" anchorCtr="1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6AECEC4-CA18-4F9C-AD5A-AE47FDBBED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3" name="Segnaposto numero diapositiva 2">
            <a:extLst>
              <a:ext uri="{FF2B5EF4-FFF2-40B4-BE49-F238E27FC236}">
                <a16:creationId xmlns:a16="http://schemas.microsoft.com/office/drawing/2014/main" id="{CEF5F07D-D832-4A0B-9CCE-85A84EB4A7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449E77C6-3AC2-4EEF-9C19-353A23EF22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8257035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8A0D947-5931-4227-AE62-D40527E3E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8" name="Picture Placeholder 20">
            <a:extLst>
              <a:ext uri="{FF2B5EF4-FFF2-40B4-BE49-F238E27FC236}">
                <a16:creationId xmlns:a16="http://schemas.microsoft.com/office/drawing/2014/main" id="{96AD8E23-45D7-4015-82F4-4F1D08D2ECEE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8093A54E-85BE-4508-BF9A-913B28F2A189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31980FD1-C947-46A3-8D90-A079E14193C0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6C15E9EB-3445-41FE-AEDA-28F5B40B63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7158426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 userDrawn="1"/>
        </p:nvSpPr>
        <p:spPr>
          <a:xfrm>
            <a:off x="354010" y="1131591"/>
            <a:ext cx="3560767" cy="5402561"/>
          </a:xfrm>
          <a:prstGeom prst="roundRect">
            <a:avLst>
              <a:gd name="adj" fmla="val 39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/>
          </a:p>
        </p:txBody>
      </p:sp>
      <p:sp>
        <p:nvSpPr>
          <p:cNvPr id="4" name="Rounded Rectangle 3"/>
          <p:cNvSpPr/>
          <p:nvPr userDrawn="1"/>
        </p:nvSpPr>
        <p:spPr>
          <a:xfrm>
            <a:off x="531933" y="1347500"/>
            <a:ext cx="153868" cy="50152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bg1"/>
              </a:solidFill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3057177" y="1276653"/>
            <a:ext cx="685849" cy="685148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644E8BB-F13A-4AE0-889E-633DE4143787}"/>
              </a:ext>
            </a:extLst>
          </p:cNvPr>
          <p:cNvSpPr txBox="1"/>
          <p:nvPr userDrawn="1"/>
        </p:nvSpPr>
        <p:spPr>
          <a:xfrm>
            <a:off x="711704" y="1637214"/>
            <a:ext cx="223224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+mn-lt"/>
                <a:cs typeface="Arial" pitchFamily="34" charset="0"/>
              </a:rPr>
              <a:t>You can Resize without losing quality</a:t>
            </a:r>
            <a:endParaRPr lang="ko-KR" altLang="en-US" sz="1400" b="1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2CE2B8B-ED32-491A-95B2-D28904BC432C}"/>
              </a:ext>
            </a:extLst>
          </p:cNvPr>
          <p:cNvSpPr txBox="1"/>
          <p:nvPr userDrawn="1"/>
        </p:nvSpPr>
        <p:spPr>
          <a:xfrm>
            <a:off x="711704" y="2444300"/>
            <a:ext cx="2726821" cy="95410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You can Change Fill Color &amp;</a:t>
            </a:r>
          </a:p>
          <a:p>
            <a:r>
              <a:rPr lang="en-US" altLang="ko-KR" sz="14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Line Color</a:t>
            </a:r>
          </a:p>
          <a:p>
            <a:endParaRPr lang="en-US" altLang="ko-KR" sz="14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  <a:p>
            <a:endParaRPr lang="ko-KR" altLang="en-US" sz="14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711704" y="3094207"/>
            <a:ext cx="266298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ess </a:t>
            </a:r>
            <a:r>
              <a:rPr lang="en-US" b="1" dirty="0"/>
              <a:t>“Format”</a:t>
            </a:r>
          </a:p>
          <a:p>
            <a:r>
              <a:rPr lang="en-US" dirty="0"/>
              <a:t>Choose</a:t>
            </a:r>
            <a:r>
              <a:rPr lang="en-US" baseline="0" dirty="0"/>
              <a:t> color by pressing </a:t>
            </a:r>
            <a:r>
              <a:rPr lang="en-US" b="1" baseline="0" dirty="0"/>
              <a:t>“Shape Fill” or “Shape Outline”</a:t>
            </a:r>
            <a:endParaRPr lang="en-US" b="1" dirty="0"/>
          </a:p>
          <a:p>
            <a:endParaRPr lang="en-GB" dirty="0"/>
          </a:p>
        </p:txBody>
      </p:sp>
      <p:sp>
        <p:nvSpPr>
          <p:cNvPr id="10" name="Segnaposto numero diapositiva 2">
            <a:extLst>
              <a:ext uri="{FF2B5EF4-FFF2-40B4-BE49-F238E27FC236}">
                <a16:creationId xmlns:a16="http://schemas.microsoft.com/office/drawing/2014/main" id="{CAAB2A90-E6BA-4145-B704-4DDD2B1A77F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12" name="Segnaposto piè di pagina 2">
            <a:extLst>
              <a:ext uri="{FF2B5EF4-FFF2-40B4-BE49-F238E27FC236}">
                <a16:creationId xmlns:a16="http://schemas.microsoft.com/office/drawing/2014/main" id="{F48324C7-68F3-4680-985E-F9151C5867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01869135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eparator 50% transpar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/>
          <p:cNvSpPr>
            <a:spLocks noGrp="1"/>
          </p:cNvSpPr>
          <p:nvPr>
            <p:ph type="pic" sz="quarter" idx="11"/>
          </p:nvPr>
        </p:nvSpPr>
        <p:spPr>
          <a:xfrm>
            <a:off x="0" y="858414"/>
            <a:ext cx="12192000" cy="5989320"/>
          </a:xfrm>
          <a:prstGeom prst="rect">
            <a:avLst/>
          </a:prstGeom>
          <a:solidFill>
            <a:srgbClr val="F3BF00">
              <a:alpha val="49804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it-IT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6826B66-8BF2-45BB-AE23-4E8194445E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8" name="Segnaposto numero diapositiva 2">
            <a:extLst>
              <a:ext uri="{FF2B5EF4-FFF2-40B4-BE49-F238E27FC236}">
                <a16:creationId xmlns:a16="http://schemas.microsoft.com/office/drawing/2014/main" id="{E466ADC2-22F7-4833-9713-6EC1AA1F353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5B0524A0-0798-4F8C-97A0-D3AA5D8866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73758696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gress char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/>
          <p:cNvSpPr>
            <a:spLocks noGrp="1"/>
          </p:cNvSpPr>
          <p:nvPr>
            <p:ph type="pic" sz="quarter" idx="14"/>
          </p:nvPr>
        </p:nvSpPr>
        <p:spPr>
          <a:xfrm>
            <a:off x="0" y="857091"/>
            <a:ext cx="6209955" cy="598932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1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1 w 10000"/>
              <a:gd name="connsiteY4" fmla="*/ 0 h 10000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10002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7751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10000">
                <a:moveTo>
                  <a:pt x="2" y="0"/>
                </a:moveTo>
                <a:lnTo>
                  <a:pt x="10002" y="0"/>
                </a:lnTo>
                <a:lnTo>
                  <a:pt x="7751" y="10000"/>
                </a:lnTo>
                <a:lnTo>
                  <a:pt x="2" y="10000"/>
                </a:lnTo>
                <a:cubicBezTo>
                  <a:pt x="9" y="6667"/>
                  <a:pt x="-5" y="3333"/>
                  <a:pt x="2" y="0"/>
                </a:cubicBezTo>
                <a:close/>
              </a:path>
            </a:pathLst>
          </a:custGeom>
          <a:solidFill>
            <a:srgbClr val="FFD500">
              <a:alpha val="50000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it-IT" dirty="0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3313667" y="1969732"/>
            <a:ext cx="3682800" cy="3682800"/>
          </a:xfrm>
          <a:prstGeom prst="ellipse">
            <a:avLst/>
          </a:prstGeom>
          <a:solidFill>
            <a:srgbClr val="C6C6C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egnaposto tabella 7"/>
          <p:cNvSpPr>
            <a:spLocks noGrp="1"/>
          </p:cNvSpPr>
          <p:nvPr>
            <p:ph type="tbl" sz="quarter" idx="15"/>
          </p:nvPr>
        </p:nvSpPr>
        <p:spPr>
          <a:xfrm>
            <a:off x="7249886" y="950400"/>
            <a:ext cx="4354125" cy="38268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table</a:t>
            </a:r>
            <a:endParaRPr lang="it-IT" dirty="0"/>
          </a:p>
        </p:txBody>
      </p:sp>
      <p:sp>
        <p:nvSpPr>
          <p:cNvPr id="12" name="Segnaposto grafico 11"/>
          <p:cNvSpPr>
            <a:spLocks noGrp="1"/>
          </p:cNvSpPr>
          <p:nvPr>
            <p:ph type="chart" sz="quarter" idx="16"/>
          </p:nvPr>
        </p:nvSpPr>
        <p:spPr>
          <a:xfrm>
            <a:off x="7249887" y="5652532"/>
            <a:ext cx="4354124" cy="763587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chart</a:t>
            </a:r>
            <a:endParaRPr lang="it-IT"/>
          </a:p>
        </p:txBody>
      </p:sp>
      <p:sp>
        <p:nvSpPr>
          <p:cNvPr id="14" name="Segnaposto tabella 13"/>
          <p:cNvSpPr>
            <a:spLocks noGrp="1"/>
          </p:cNvSpPr>
          <p:nvPr>
            <p:ph type="tbl" sz="quarter" idx="17"/>
          </p:nvPr>
        </p:nvSpPr>
        <p:spPr>
          <a:xfrm>
            <a:off x="7250566" y="4934575"/>
            <a:ext cx="4354124" cy="55721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table</a:t>
            </a:r>
            <a:endParaRPr lang="it-IT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E64CCC5-F333-41FC-861A-7DBFE58CE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1" name="Segnaposto numero diapositiva 2">
            <a:extLst>
              <a:ext uri="{FF2B5EF4-FFF2-40B4-BE49-F238E27FC236}">
                <a16:creationId xmlns:a16="http://schemas.microsoft.com/office/drawing/2014/main" id="{E3159197-600B-4F1B-894F-E712034ACD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15" name="Segnaposto piè di pagina 2">
            <a:extLst>
              <a:ext uri="{FF2B5EF4-FFF2-40B4-BE49-F238E27FC236}">
                <a16:creationId xmlns:a16="http://schemas.microsoft.com/office/drawing/2014/main" id="{5DED11AE-48A6-43DA-B206-E932BB964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  <p:pic>
        <p:nvPicPr>
          <p:cNvPr id="13" name="Immagine 8">
            <a:extLst>
              <a:ext uri="{FF2B5EF4-FFF2-40B4-BE49-F238E27FC236}">
                <a16:creationId xmlns:a16="http://schemas.microsoft.com/office/drawing/2014/main" id="{708B99D3-A207-45CD-ACBC-0C0401B2C5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21082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gress char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/>
          <p:cNvSpPr>
            <a:spLocks noGrp="1"/>
          </p:cNvSpPr>
          <p:nvPr>
            <p:ph type="pic" sz="quarter" idx="14"/>
          </p:nvPr>
        </p:nvSpPr>
        <p:spPr>
          <a:xfrm>
            <a:off x="0" y="785257"/>
            <a:ext cx="6209955" cy="598932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1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1 w 10000"/>
              <a:gd name="connsiteY4" fmla="*/ 0 h 10000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10002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7751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10000">
                <a:moveTo>
                  <a:pt x="2" y="0"/>
                </a:moveTo>
                <a:lnTo>
                  <a:pt x="10002" y="0"/>
                </a:lnTo>
                <a:lnTo>
                  <a:pt x="7751" y="10000"/>
                </a:lnTo>
                <a:lnTo>
                  <a:pt x="2" y="10000"/>
                </a:lnTo>
                <a:cubicBezTo>
                  <a:pt x="9" y="6667"/>
                  <a:pt x="-5" y="3333"/>
                  <a:pt x="2" y="0"/>
                </a:cubicBezTo>
                <a:close/>
              </a:path>
            </a:pathLst>
          </a:custGeom>
          <a:solidFill>
            <a:srgbClr val="F3BF00">
              <a:alpha val="49804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it-IT" dirty="0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1135965" y="1138334"/>
            <a:ext cx="5333529" cy="5297529"/>
          </a:xfrm>
          <a:prstGeom prst="ellipse">
            <a:avLst/>
          </a:prstGeom>
          <a:solidFill>
            <a:srgbClr val="C6C6C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egnaposto tabella 7"/>
          <p:cNvSpPr>
            <a:spLocks noGrp="1"/>
          </p:cNvSpPr>
          <p:nvPr>
            <p:ph type="tbl" sz="quarter" idx="15"/>
          </p:nvPr>
        </p:nvSpPr>
        <p:spPr>
          <a:xfrm>
            <a:off x="6587411" y="4273984"/>
            <a:ext cx="5016599" cy="220973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table</a:t>
            </a:r>
            <a:endParaRPr lang="it-IT" dirty="0"/>
          </a:p>
        </p:txBody>
      </p:sp>
      <p:sp>
        <p:nvSpPr>
          <p:cNvPr id="12" name="Segnaposto grafico 11"/>
          <p:cNvSpPr>
            <a:spLocks noGrp="1"/>
          </p:cNvSpPr>
          <p:nvPr>
            <p:ph type="chart" sz="quarter" idx="16"/>
          </p:nvPr>
        </p:nvSpPr>
        <p:spPr>
          <a:xfrm>
            <a:off x="6587413" y="964413"/>
            <a:ext cx="5016598" cy="3237737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chart</a:t>
            </a:r>
            <a:endParaRPr lang="it-IT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42EF16D-AB05-4D59-8925-A96DDA1D81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1" name="Segnaposto numero diapositiva 2">
            <a:extLst>
              <a:ext uri="{FF2B5EF4-FFF2-40B4-BE49-F238E27FC236}">
                <a16:creationId xmlns:a16="http://schemas.microsoft.com/office/drawing/2014/main" id="{A64B7CF0-025B-4FCF-B6E1-D9D22316D92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1D5867DC-E179-4697-B728-D5E727A664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  <p:pic>
        <p:nvPicPr>
          <p:cNvPr id="14" name="Immagine 8">
            <a:extLst>
              <a:ext uri="{FF2B5EF4-FFF2-40B4-BE49-F238E27FC236}">
                <a16:creationId xmlns:a16="http://schemas.microsoft.com/office/drawing/2014/main" id="{DBDEF073-A96D-49F1-9749-6F52EC927B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20934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es with line separation and shad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testo 11"/>
          <p:cNvSpPr>
            <a:spLocks noGrp="1"/>
          </p:cNvSpPr>
          <p:nvPr>
            <p:ph type="body" sz="quarter" idx="10"/>
          </p:nvPr>
        </p:nvSpPr>
        <p:spPr>
          <a:xfrm>
            <a:off x="640799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01B1C9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Segnaposto testo 13"/>
          <p:cNvSpPr>
            <a:spLocks noGrp="1"/>
          </p:cNvSpPr>
          <p:nvPr>
            <p:ph type="body" sz="quarter" idx="11"/>
          </p:nvPr>
        </p:nvSpPr>
        <p:spPr>
          <a:xfrm>
            <a:off x="4460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2"/>
          </p:nvPr>
        </p:nvSpPr>
        <p:spPr>
          <a:xfrm>
            <a:off x="8276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chemeClr val="bg1">
                <a:lumMod val="75000"/>
              </a:schemeClr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8" name="Connettore 1 13"/>
          <p:cNvCxnSpPr/>
          <p:nvPr userDrawn="1"/>
        </p:nvCxnSpPr>
        <p:spPr>
          <a:xfrm>
            <a:off x="4070685" y="113107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1 13"/>
          <p:cNvCxnSpPr/>
          <p:nvPr userDrawn="1"/>
        </p:nvCxnSpPr>
        <p:spPr>
          <a:xfrm>
            <a:off x="7880684" y="113040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egnaposto testo 31"/>
          <p:cNvSpPr>
            <a:spLocks noGrp="1"/>
          </p:cNvSpPr>
          <p:nvPr>
            <p:ph type="body" sz="quarter" idx="16"/>
          </p:nvPr>
        </p:nvSpPr>
        <p:spPr>
          <a:xfrm>
            <a:off x="1389600" y="5407200"/>
            <a:ext cx="9486000" cy="7308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>
            <a:normAutofit/>
          </a:bodyPr>
          <a:lstStyle>
            <a:lvl1pPr algn="ctr">
              <a:buNone/>
              <a:defRPr sz="1600" b="1" i="0" baseline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Segnaposto testo 19"/>
          <p:cNvSpPr>
            <a:spLocks noGrp="1"/>
          </p:cNvSpPr>
          <p:nvPr>
            <p:ph type="body" sz="quarter" idx="17" hasCustomPrompt="1"/>
          </p:nvPr>
        </p:nvSpPr>
        <p:spPr>
          <a:xfrm>
            <a:off x="640800" y="2209575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21" name="Segnaposto testo 19"/>
          <p:cNvSpPr>
            <a:spLocks noGrp="1"/>
          </p:cNvSpPr>
          <p:nvPr>
            <p:ph type="body" sz="quarter" idx="18" hasCustomPrompt="1"/>
          </p:nvPr>
        </p:nvSpPr>
        <p:spPr>
          <a:xfrm>
            <a:off x="4460400" y="2242232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22" name="Segnaposto testo 19"/>
          <p:cNvSpPr>
            <a:spLocks noGrp="1"/>
          </p:cNvSpPr>
          <p:nvPr>
            <p:ph type="body" sz="quarter" idx="19" hasCustomPrompt="1"/>
          </p:nvPr>
        </p:nvSpPr>
        <p:spPr>
          <a:xfrm>
            <a:off x="8276400" y="2264004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6942CEC-B03D-4250-8A31-6750985414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9" name="Segnaposto numero diapositiva 2">
            <a:extLst>
              <a:ext uri="{FF2B5EF4-FFF2-40B4-BE49-F238E27FC236}">
                <a16:creationId xmlns:a16="http://schemas.microsoft.com/office/drawing/2014/main" id="{9B1F8DF2-ACD9-421C-802F-15A8C8DF2DB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15" name="Segnaposto piè di pagina 2">
            <a:extLst>
              <a:ext uri="{FF2B5EF4-FFF2-40B4-BE49-F238E27FC236}">
                <a16:creationId xmlns:a16="http://schemas.microsoft.com/office/drawing/2014/main" id="{86CB8E07-1D78-438B-9E9B-643F2B8B1A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69833655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boxes with line separation and shad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testo 11"/>
          <p:cNvSpPr>
            <a:spLocks noGrp="1"/>
          </p:cNvSpPr>
          <p:nvPr>
            <p:ph type="body" sz="quarter" idx="10"/>
          </p:nvPr>
        </p:nvSpPr>
        <p:spPr>
          <a:xfrm>
            <a:off x="640799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01B1C9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Segnaposto testo 13"/>
          <p:cNvSpPr>
            <a:spLocks noGrp="1"/>
          </p:cNvSpPr>
          <p:nvPr>
            <p:ph type="body" sz="quarter" idx="11"/>
          </p:nvPr>
        </p:nvSpPr>
        <p:spPr>
          <a:xfrm>
            <a:off x="4460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2"/>
          </p:nvPr>
        </p:nvSpPr>
        <p:spPr>
          <a:xfrm>
            <a:off x="8276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chemeClr val="bg1">
                <a:lumMod val="75000"/>
              </a:schemeClr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8" name="Connettore 1 13"/>
          <p:cNvCxnSpPr/>
          <p:nvPr userDrawn="1"/>
        </p:nvCxnSpPr>
        <p:spPr>
          <a:xfrm>
            <a:off x="4070685" y="113107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1 13"/>
          <p:cNvCxnSpPr/>
          <p:nvPr userDrawn="1"/>
        </p:nvCxnSpPr>
        <p:spPr>
          <a:xfrm>
            <a:off x="7880684" y="113040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egnaposto testo 31"/>
          <p:cNvSpPr>
            <a:spLocks noGrp="1"/>
          </p:cNvSpPr>
          <p:nvPr>
            <p:ph type="body" sz="quarter" idx="16"/>
          </p:nvPr>
        </p:nvSpPr>
        <p:spPr>
          <a:xfrm>
            <a:off x="1389600" y="5407200"/>
            <a:ext cx="9486000" cy="7308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>
            <a:normAutofit/>
          </a:bodyPr>
          <a:lstStyle>
            <a:lvl1pPr algn="ctr">
              <a:buNone/>
              <a:defRPr sz="1600" b="1" i="0" baseline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Segnaposto testo 19"/>
          <p:cNvSpPr>
            <a:spLocks noGrp="1"/>
          </p:cNvSpPr>
          <p:nvPr>
            <p:ph type="body" sz="quarter" idx="17" hasCustomPrompt="1"/>
          </p:nvPr>
        </p:nvSpPr>
        <p:spPr>
          <a:xfrm>
            <a:off x="640800" y="2209575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21" name="Segnaposto testo 19"/>
          <p:cNvSpPr>
            <a:spLocks noGrp="1"/>
          </p:cNvSpPr>
          <p:nvPr>
            <p:ph type="body" sz="quarter" idx="18" hasCustomPrompt="1"/>
          </p:nvPr>
        </p:nvSpPr>
        <p:spPr>
          <a:xfrm>
            <a:off x="4460400" y="2242232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22" name="Segnaposto testo 19"/>
          <p:cNvSpPr>
            <a:spLocks noGrp="1"/>
          </p:cNvSpPr>
          <p:nvPr>
            <p:ph type="body" sz="quarter" idx="19" hasCustomPrompt="1"/>
          </p:nvPr>
        </p:nvSpPr>
        <p:spPr>
          <a:xfrm>
            <a:off x="8276400" y="2264004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F38597D-6639-4651-9FC9-D2811A24DC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9" name="Segnaposto numero diapositiva 2">
            <a:extLst>
              <a:ext uri="{FF2B5EF4-FFF2-40B4-BE49-F238E27FC236}">
                <a16:creationId xmlns:a16="http://schemas.microsoft.com/office/drawing/2014/main" id="{3166C9D8-2E46-423D-81F4-E0718F7BC86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15" name="Segnaposto piè di pagina 2">
            <a:extLst>
              <a:ext uri="{FF2B5EF4-FFF2-40B4-BE49-F238E27FC236}">
                <a16:creationId xmlns:a16="http://schemas.microsoft.com/office/drawing/2014/main" id="{EE68494A-2ABD-4E05-8AB9-7A667971AF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63897764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8A0D947-5931-4227-AE62-D40527E3E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5" name="Segnaposto piè di pagina 2">
            <a:extLst>
              <a:ext uri="{FF2B5EF4-FFF2-40B4-BE49-F238E27FC236}">
                <a16:creationId xmlns:a16="http://schemas.microsoft.com/office/drawing/2014/main" id="{64110FF0-219B-4F84-A075-8C006118ED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525526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750116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numero diapositiva 2">
            <a:extLst>
              <a:ext uri="{FF2B5EF4-FFF2-40B4-BE49-F238E27FC236}">
                <a16:creationId xmlns:a16="http://schemas.microsoft.com/office/drawing/2014/main" id="{0663E369-85D8-4AA2-B9C7-C9B09C849A2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5" name="Segnaposto piè di pagina 2">
            <a:extLst>
              <a:ext uri="{FF2B5EF4-FFF2-40B4-BE49-F238E27FC236}">
                <a16:creationId xmlns:a16="http://schemas.microsoft.com/office/drawing/2014/main" id="{EFEC359A-3298-49D2-8C9D-AEFA7A9EDA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28366370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7">
            <a:extLst>
              <a:ext uri="{FF2B5EF4-FFF2-40B4-BE49-F238E27FC236}">
                <a16:creationId xmlns:a16="http://schemas.microsoft.com/office/drawing/2014/main" id="{1AAD491E-1EA0-47EE-9B38-C36879304DBF}"/>
              </a:ext>
            </a:extLst>
          </p:cNvPr>
          <p:cNvSpPr/>
          <p:nvPr userDrawn="1"/>
        </p:nvSpPr>
        <p:spPr>
          <a:xfrm>
            <a:off x="0" y="2362200"/>
            <a:ext cx="12191999" cy="2133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그림 개체 틀 6">
            <a:extLst>
              <a:ext uri="{FF2B5EF4-FFF2-40B4-BE49-F238E27FC236}">
                <a16:creationId xmlns:a16="http://schemas.microsoft.com/office/drawing/2014/main" id="{ADA58810-BEDD-4D33-B6DF-414C92F116C0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534029" y="2"/>
            <a:ext cx="6657973" cy="6857999"/>
          </a:xfrm>
          <a:custGeom>
            <a:avLst/>
            <a:gdLst>
              <a:gd name="connsiteX0" fmla="*/ 2362199 w 6657973"/>
              <a:gd name="connsiteY0" fmla="*/ 0 h 6857999"/>
              <a:gd name="connsiteX1" fmla="*/ 6657973 w 6657973"/>
              <a:gd name="connsiteY1" fmla="*/ 0 h 6857999"/>
              <a:gd name="connsiteX2" fmla="*/ 6657973 w 6657973"/>
              <a:gd name="connsiteY2" fmla="*/ 3630706 h 6857999"/>
              <a:gd name="connsiteX3" fmla="*/ 6657972 w 6657973"/>
              <a:gd name="connsiteY3" fmla="*/ 6857999 h 6857999"/>
              <a:gd name="connsiteX4" fmla="*/ 2362198 w 6657973"/>
              <a:gd name="connsiteY4" fmla="*/ 6857999 h 6857999"/>
              <a:gd name="connsiteX5" fmla="*/ 2362198 w 6657973"/>
              <a:gd name="connsiteY5" fmla="*/ 6857999 h 6857999"/>
              <a:gd name="connsiteX6" fmla="*/ 0 w 6657973"/>
              <a:gd name="connsiteY6" fmla="*/ 343853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57973" h="6857999">
                <a:moveTo>
                  <a:pt x="2362199" y="0"/>
                </a:moveTo>
                <a:lnTo>
                  <a:pt x="6657973" y="0"/>
                </a:lnTo>
                <a:lnTo>
                  <a:pt x="6657973" y="3630706"/>
                </a:lnTo>
                <a:lnTo>
                  <a:pt x="6657972" y="6857999"/>
                </a:lnTo>
                <a:lnTo>
                  <a:pt x="2362198" y="6857999"/>
                </a:lnTo>
                <a:lnTo>
                  <a:pt x="2362198" y="6857999"/>
                </a:lnTo>
                <a:lnTo>
                  <a:pt x="0" y="34385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pic>
        <p:nvPicPr>
          <p:cNvPr id="5" name="Immagine 8">
            <a:extLst>
              <a:ext uri="{FF2B5EF4-FFF2-40B4-BE49-F238E27FC236}">
                <a16:creationId xmlns:a16="http://schemas.microsoft.com/office/drawing/2014/main" id="{C902A94B-F441-4C44-A590-8C0E54C089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69598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- 5 lev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 sz="2400"/>
            </a:lvl1pPr>
          </a:lstStyle>
          <a:p>
            <a:endParaRPr lang="en-GB" dirty="0"/>
          </a:p>
        </p:txBody>
      </p:sp>
      <p:sp>
        <p:nvSpPr>
          <p:cNvPr id="5" name="Segnaposto contenuto 2"/>
          <p:cNvSpPr>
            <a:spLocks noGrp="1"/>
          </p:cNvSpPr>
          <p:nvPr>
            <p:ph sz="quarter" idx="10" hasCustomPrompt="1"/>
          </p:nvPr>
        </p:nvSpPr>
        <p:spPr>
          <a:xfrm>
            <a:off x="641246" y="1602000"/>
            <a:ext cx="10824534" cy="4323600"/>
          </a:xfrm>
        </p:spPr>
        <p:txBody>
          <a:bodyPr/>
          <a:lstStyle>
            <a:lvl1pPr marL="342891" indent="-342891">
              <a:buFont typeface="Wingdings" panose="05000000000000000000" pitchFamily="2" charset="2"/>
              <a:buChar char="§"/>
              <a:defRPr/>
            </a:lvl1pPr>
            <a:lvl2pPr>
              <a:buClr>
                <a:srgbClr val="01B1C9"/>
              </a:buClr>
              <a:defRPr/>
            </a:lvl2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  <p:sp>
        <p:nvSpPr>
          <p:cNvPr id="4" name="Segnaposto piè di pagina 2">
            <a:extLst>
              <a:ext uri="{FF2B5EF4-FFF2-40B4-BE49-F238E27FC236}">
                <a16:creationId xmlns:a16="http://schemas.microsoft.com/office/drawing/2014/main" id="{E563F9FF-B8D0-4DDB-931E-C4E2968751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  <p:pic>
        <p:nvPicPr>
          <p:cNvPr id="6" name="Immagine 8">
            <a:extLst>
              <a:ext uri="{FF2B5EF4-FFF2-40B4-BE49-F238E27FC236}">
                <a16:creationId xmlns:a16="http://schemas.microsoft.com/office/drawing/2014/main" id="{90A6841C-776D-4D28-80F7-4C283F4507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13716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piè di pagina 2">
            <a:extLst>
              <a:ext uri="{FF2B5EF4-FFF2-40B4-BE49-F238E27FC236}">
                <a16:creationId xmlns:a16="http://schemas.microsoft.com/office/drawing/2014/main" id="{C47BF2F4-F75C-4921-AC8D-AB8937033F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21963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6717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GB" sz="800" dirty="0"/>
              <a:t> DD/MM/YYYY                    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KARACHAGANAK PETROLEUM OPERATING B.V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765365F8-0B0F-4281-A808-D81027A1374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274" y="6525526"/>
            <a:ext cx="616226" cy="332474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3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7E05C84-CEB4-4490-9EB6-4D732264EA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7491"/>
            <a:ext cx="12192000" cy="832023"/>
          </a:xfrm>
          <a:prstGeom prst="rect">
            <a:avLst/>
          </a:prstGeom>
        </p:spPr>
        <p:txBody>
          <a:bodyPr/>
          <a:lstStyle>
            <a:lvl1pPr>
              <a:defRPr sz="3200" b="0" cap="none" spc="0">
                <a:ln w="0"/>
                <a:solidFill>
                  <a:schemeClr val="tx2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3107496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a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E6E27E7-CC38-4027-931D-60332C9F01EE}"/>
              </a:ext>
            </a:extLst>
          </p:cNvPr>
          <p:cNvSpPr/>
          <p:nvPr userDrawn="1"/>
        </p:nvSpPr>
        <p:spPr>
          <a:xfrm>
            <a:off x="0" y="2266689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DC44B6A-AE27-49EB-88BC-311AE80A2A3D}"/>
              </a:ext>
            </a:extLst>
          </p:cNvPr>
          <p:cNvSpPr/>
          <p:nvPr userDrawn="1"/>
        </p:nvSpPr>
        <p:spPr>
          <a:xfrm>
            <a:off x="0" y="34290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96A4FB-8760-48CD-BD01-1895C21C26C4}"/>
              </a:ext>
            </a:extLst>
          </p:cNvPr>
          <p:cNvSpPr/>
          <p:nvPr userDrawn="1"/>
        </p:nvSpPr>
        <p:spPr>
          <a:xfrm>
            <a:off x="683568" y="3914244"/>
            <a:ext cx="770350" cy="1334334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1">
              <a:solidFill>
                <a:srgbClr val="00B5C9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915E9B-C567-4570-9ED5-511D2ECB10D3}"/>
              </a:ext>
            </a:extLst>
          </p:cNvPr>
          <p:cNvSpPr/>
          <p:nvPr userDrawn="1"/>
        </p:nvSpPr>
        <p:spPr>
          <a:xfrm>
            <a:off x="6096000" y="6754812"/>
            <a:ext cx="6096000" cy="103188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0AD4F9E-6EC6-4CDA-B42A-833E27CB1001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Segnaposto numero diapositiva 2">
            <a:extLst>
              <a:ext uri="{FF2B5EF4-FFF2-40B4-BE49-F238E27FC236}">
                <a16:creationId xmlns:a16="http://schemas.microsoft.com/office/drawing/2014/main" id="{A850ED62-A3B7-4801-B80D-B642B800D9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858B94E-595B-4CDB-86C7-146594FB69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0093" y="1352392"/>
            <a:ext cx="2098907" cy="1581570"/>
          </a:xfrm>
          <a:prstGeom prst="rect">
            <a:avLst/>
          </a:prstGeom>
        </p:spPr>
      </p:pic>
      <p:pic>
        <p:nvPicPr>
          <p:cNvPr id="15" name="Immagine 8">
            <a:extLst>
              <a:ext uri="{FF2B5EF4-FFF2-40B4-BE49-F238E27FC236}">
                <a16:creationId xmlns:a16="http://schemas.microsoft.com/office/drawing/2014/main" id="{6A120B41-DBB9-4592-8062-196913E23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8301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7C981FE-A801-4FF1-8F20-E5072BE117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832023"/>
          </a:xfrm>
          <a:prstGeom prst="rect">
            <a:avLst/>
          </a:prstGeom>
        </p:spPr>
        <p:txBody>
          <a:bodyPr/>
          <a:lstStyle>
            <a:lvl1pPr>
              <a:defRPr sz="3200" b="0" cap="none" spc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7" name="Segnaposto numero diapositiva 2">
            <a:extLst>
              <a:ext uri="{FF2B5EF4-FFF2-40B4-BE49-F238E27FC236}">
                <a16:creationId xmlns:a16="http://schemas.microsoft.com/office/drawing/2014/main" id="{7ED0C059-87AB-4CD8-A09F-9327AAB0337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6" name="Segnaposto piè di pagina 2">
            <a:extLst>
              <a:ext uri="{FF2B5EF4-FFF2-40B4-BE49-F238E27FC236}">
                <a16:creationId xmlns:a16="http://schemas.microsoft.com/office/drawing/2014/main" id="{03937854-B971-4785-B88B-DBE80A1539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904956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- 2 blocks seperate titles AND shaded NO lin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715992" y="2113472"/>
            <a:ext cx="5167223" cy="40761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n-lt"/>
              </a:defRPr>
            </a:lvl1pPr>
            <a:lvl2pPr>
              <a:buClr>
                <a:srgbClr val="01B1C9"/>
              </a:buClr>
              <a:defRPr sz="20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 marL="2057349" indent="-228594">
              <a:buFont typeface="Arial" panose="020B0604020202020204" pitchFamily="34" charset="0"/>
              <a:buChar char="√"/>
              <a:defRPr sz="16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206400" y="2113472"/>
            <a:ext cx="5259380" cy="4076191"/>
          </a:xfrm>
          <a:prstGeom prst="rect">
            <a:avLst/>
          </a:prstGeom>
        </p:spPr>
        <p:txBody>
          <a:bodyPr/>
          <a:lstStyle>
            <a:lvl2pPr>
              <a:buClr>
                <a:srgbClr val="01B1C9"/>
              </a:buClr>
              <a:defRPr/>
            </a:lvl2pPr>
            <a:lvl5pPr marL="2057349" indent="-228594">
              <a:buFont typeface="Arial" panose="020B0604020202020204" pitchFamily="34" charset="0"/>
              <a:buChar char="√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3"/>
          </p:nvPr>
        </p:nvSpPr>
        <p:spPr>
          <a:xfrm>
            <a:off x="1289095" y="1408026"/>
            <a:ext cx="4021016" cy="369332"/>
          </a:xfrm>
          <a:prstGeom prst="rect">
            <a:avLst/>
          </a:prstGeom>
          <a:solidFill>
            <a:schemeClr val="bg1"/>
          </a:solidFill>
          <a:effectLst>
            <a:outerShdw dist="101600" dir="8100000" algn="tr" rotWithShape="0">
              <a:srgbClr val="FFD500"/>
            </a:outerShdw>
          </a:effectLst>
        </p:spPr>
        <p:txBody>
          <a:bodyPr anchor="b" anchorCtr="1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egnaposto testo 4"/>
          <p:cNvSpPr>
            <a:spLocks noGrp="1"/>
          </p:cNvSpPr>
          <p:nvPr>
            <p:ph type="body" sz="quarter" idx="14"/>
          </p:nvPr>
        </p:nvSpPr>
        <p:spPr>
          <a:xfrm>
            <a:off x="6778892" y="1408026"/>
            <a:ext cx="4021016" cy="369332"/>
          </a:xfrm>
          <a:prstGeom prst="rect">
            <a:avLst/>
          </a:prstGeom>
          <a:solidFill>
            <a:schemeClr val="bg1"/>
          </a:solidFill>
          <a:effectLst>
            <a:outerShdw dist="101600" dir="8100000" algn="tr" rotWithShape="0">
              <a:srgbClr val="01B1C9"/>
            </a:outerShdw>
          </a:effectLst>
        </p:spPr>
        <p:txBody>
          <a:bodyPr anchor="b" anchorCtr="1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6AECEC4-CA18-4F9C-AD5A-AE47FDBBED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3" name="Segnaposto numero diapositiva 2">
            <a:extLst>
              <a:ext uri="{FF2B5EF4-FFF2-40B4-BE49-F238E27FC236}">
                <a16:creationId xmlns:a16="http://schemas.microsoft.com/office/drawing/2014/main" id="{CEF5F07D-D832-4A0B-9CCE-85A84EB4A7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449E77C6-3AC2-4EEF-9C19-353A23EF22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6519393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8A0D947-5931-4227-AE62-D40527E3E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8" name="Picture Placeholder 20">
            <a:extLst>
              <a:ext uri="{FF2B5EF4-FFF2-40B4-BE49-F238E27FC236}">
                <a16:creationId xmlns:a16="http://schemas.microsoft.com/office/drawing/2014/main" id="{96AD8E23-45D7-4015-82F4-4F1D08D2ECEE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8093A54E-85BE-4508-BF9A-913B28F2A189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31980FD1-C947-46A3-8D90-A079E14193C0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6C15E9EB-3445-41FE-AEDA-28F5B40B63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8170985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numero diapositiva 2">
            <a:extLst>
              <a:ext uri="{FF2B5EF4-FFF2-40B4-BE49-F238E27FC236}">
                <a16:creationId xmlns:a16="http://schemas.microsoft.com/office/drawing/2014/main" id="{0663E369-85D8-4AA2-B9C7-C9B09C849A2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5" name="Segnaposto piè di pagina 2">
            <a:extLst>
              <a:ext uri="{FF2B5EF4-FFF2-40B4-BE49-F238E27FC236}">
                <a16:creationId xmlns:a16="http://schemas.microsoft.com/office/drawing/2014/main" id="{EFEC359A-3298-49D2-8C9D-AEFA7A9EDA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6757401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 userDrawn="1"/>
        </p:nvSpPr>
        <p:spPr>
          <a:xfrm>
            <a:off x="354010" y="1131591"/>
            <a:ext cx="3560767" cy="5402561"/>
          </a:xfrm>
          <a:prstGeom prst="roundRect">
            <a:avLst>
              <a:gd name="adj" fmla="val 39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/>
          </a:p>
        </p:txBody>
      </p:sp>
      <p:sp>
        <p:nvSpPr>
          <p:cNvPr id="4" name="Rounded Rectangle 3"/>
          <p:cNvSpPr/>
          <p:nvPr userDrawn="1"/>
        </p:nvSpPr>
        <p:spPr>
          <a:xfrm>
            <a:off x="531933" y="1347500"/>
            <a:ext cx="153868" cy="50152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bg1"/>
              </a:solidFill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3057177" y="1276653"/>
            <a:ext cx="685849" cy="685148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644E8BB-F13A-4AE0-889E-633DE4143787}"/>
              </a:ext>
            </a:extLst>
          </p:cNvPr>
          <p:cNvSpPr txBox="1"/>
          <p:nvPr userDrawn="1"/>
        </p:nvSpPr>
        <p:spPr>
          <a:xfrm>
            <a:off x="711704" y="1637214"/>
            <a:ext cx="223224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+mn-lt"/>
                <a:cs typeface="Arial" pitchFamily="34" charset="0"/>
              </a:rPr>
              <a:t>You can Resize without losing quality</a:t>
            </a:r>
            <a:endParaRPr lang="ko-KR" altLang="en-US" sz="1400" b="1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2CE2B8B-ED32-491A-95B2-D28904BC432C}"/>
              </a:ext>
            </a:extLst>
          </p:cNvPr>
          <p:cNvSpPr txBox="1"/>
          <p:nvPr userDrawn="1"/>
        </p:nvSpPr>
        <p:spPr>
          <a:xfrm>
            <a:off x="711704" y="2444300"/>
            <a:ext cx="2726821" cy="95410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You can Change Fill Color &amp;</a:t>
            </a:r>
          </a:p>
          <a:p>
            <a:r>
              <a:rPr lang="en-US" altLang="ko-KR" sz="14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Line Color</a:t>
            </a:r>
          </a:p>
          <a:p>
            <a:endParaRPr lang="en-US" altLang="ko-KR" sz="14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  <a:p>
            <a:endParaRPr lang="ko-KR" altLang="en-US" sz="14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711704" y="3094207"/>
            <a:ext cx="266298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ess </a:t>
            </a:r>
            <a:r>
              <a:rPr lang="en-US" b="1" dirty="0"/>
              <a:t>“Format”</a:t>
            </a:r>
          </a:p>
          <a:p>
            <a:r>
              <a:rPr lang="en-US" dirty="0"/>
              <a:t>Choose</a:t>
            </a:r>
            <a:r>
              <a:rPr lang="en-US" baseline="0" dirty="0"/>
              <a:t> color by pressing </a:t>
            </a:r>
            <a:r>
              <a:rPr lang="en-US" b="1" baseline="0" dirty="0"/>
              <a:t>“Shape Fill” or “Shape Outline”</a:t>
            </a:r>
            <a:endParaRPr lang="en-US" b="1" dirty="0"/>
          </a:p>
          <a:p>
            <a:endParaRPr lang="en-GB" dirty="0"/>
          </a:p>
        </p:txBody>
      </p:sp>
      <p:sp>
        <p:nvSpPr>
          <p:cNvPr id="10" name="Segnaposto numero diapositiva 2">
            <a:extLst>
              <a:ext uri="{FF2B5EF4-FFF2-40B4-BE49-F238E27FC236}">
                <a16:creationId xmlns:a16="http://schemas.microsoft.com/office/drawing/2014/main" id="{CAAB2A90-E6BA-4145-B704-4DDD2B1A77F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12" name="Segnaposto piè di pagina 2">
            <a:extLst>
              <a:ext uri="{FF2B5EF4-FFF2-40B4-BE49-F238E27FC236}">
                <a16:creationId xmlns:a16="http://schemas.microsoft.com/office/drawing/2014/main" id="{F48324C7-68F3-4680-985E-F9151C5867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698107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eparator 50% transpar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/>
          <p:cNvSpPr>
            <a:spLocks noGrp="1"/>
          </p:cNvSpPr>
          <p:nvPr>
            <p:ph type="pic" sz="quarter" idx="11"/>
          </p:nvPr>
        </p:nvSpPr>
        <p:spPr>
          <a:xfrm>
            <a:off x="0" y="858414"/>
            <a:ext cx="12192000" cy="5989320"/>
          </a:xfrm>
          <a:prstGeom prst="rect">
            <a:avLst/>
          </a:prstGeom>
          <a:solidFill>
            <a:srgbClr val="F3BF00">
              <a:alpha val="49804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it-IT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6826B66-8BF2-45BB-AE23-4E8194445E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8" name="Segnaposto numero diapositiva 2">
            <a:extLst>
              <a:ext uri="{FF2B5EF4-FFF2-40B4-BE49-F238E27FC236}">
                <a16:creationId xmlns:a16="http://schemas.microsoft.com/office/drawing/2014/main" id="{E466ADC2-22F7-4833-9713-6EC1AA1F353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5B0524A0-0798-4F8C-97A0-D3AA5D8866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7800684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gress char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/>
          <p:cNvSpPr>
            <a:spLocks noGrp="1"/>
          </p:cNvSpPr>
          <p:nvPr>
            <p:ph type="pic" sz="quarter" idx="14"/>
          </p:nvPr>
        </p:nvSpPr>
        <p:spPr>
          <a:xfrm>
            <a:off x="0" y="857091"/>
            <a:ext cx="6209955" cy="598932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1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1 w 10000"/>
              <a:gd name="connsiteY4" fmla="*/ 0 h 10000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10002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7751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10000">
                <a:moveTo>
                  <a:pt x="2" y="0"/>
                </a:moveTo>
                <a:lnTo>
                  <a:pt x="10002" y="0"/>
                </a:lnTo>
                <a:lnTo>
                  <a:pt x="7751" y="10000"/>
                </a:lnTo>
                <a:lnTo>
                  <a:pt x="2" y="10000"/>
                </a:lnTo>
                <a:cubicBezTo>
                  <a:pt x="9" y="6667"/>
                  <a:pt x="-5" y="3333"/>
                  <a:pt x="2" y="0"/>
                </a:cubicBezTo>
                <a:close/>
              </a:path>
            </a:pathLst>
          </a:custGeom>
          <a:solidFill>
            <a:srgbClr val="FFD500">
              <a:alpha val="50000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it-IT" dirty="0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3313667" y="1969732"/>
            <a:ext cx="3682800" cy="3682800"/>
          </a:xfrm>
          <a:prstGeom prst="ellipse">
            <a:avLst/>
          </a:prstGeom>
          <a:solidFill>
            <a:srgbClr val="C6C6C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egnaposto tabella 7"/>
          <p:cNvSpPr>
            <a:spLocks noGrp="1"/>
          </p:cNvSpPr>
          <p:nvPr>
            <p:ph type="tbl" sz="quarter" idx="15"/>
          </p:nvPr>
        </p:nvSpPr>
        <p:spPr>
          <a:xfrm>
            <a:off x="7249886" y="950400"/>
            <a:ext cx="4354125" cy="38268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table</a:t>
            </a:r>
            <a:endParaRPr lang="it-IT" dirty="0"/>
          </a:p>
        </p:txBody>
      </p:sp>
      <p:sp>
        <p:nvSpPr>
          <p:cNvPr id="12" name="Segnaposto grafico 11"/>
          <p:cNvSpPr>
            <a:spLocks noGrp="1"/>
          </p:cNvSpPr>
          <p:nvPr>
            <p:ph type="chart" sz="quarter" idx="16"/>
          </p:nvPr>
        </p:nvSpPr>
        <p:spPr>
          <a:xfrm>
            <a:off x="7249887" y="5652532"/>
            <a:ext cx="4354124" cy="763587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chart</a:t>
            </a:r>
            <a:endParaRPr lang="it-IT"/>
          </a:p>
        </p:txBody>
      </p:sp>
      <p:sp>
        <p:nvSpPr>
          <p:cNvPr id="14" name="Segnaposto tabella 13"/>
          <p:cNvSpPr>
            <a:spLocks noGrp="1"/>
          </p:cNvSpPr>
          <p:nvPr>
            <p:ph type="tbl" sz="quarter" idx="17"/>
          </p:nvPr>
        </p:nvSpPr>
        <p:spPr>
          <a:xfrm>
            <a:off x="7250566" y="4934575"/>
            <a:ext cx="4354124" cy="55721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table</a:t>
            </a:r>
            <a:endParaRPr lang="it-IT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E64CCC5-F333-41FC-861A-7DBFE58CE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1" name="Segnaposto numero diapositiva 2">
            <a:extLst>
              <a:ext uri="{FF2B5EF4-FFF2-40B4-BE49-F238E27FC236}">
                <a16:creationId xmlns:a16="http://schemas.microsoft.com/office/drawing/2014/main" id="{E3159197-600B-4F1B-894F-E712034ACD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15" name="Segnaposto piè di pagina 2">
            <a:extLst>
              <a:ext uri="{FF2B5EF4-FFF2-40B4-BE49-F238E27FC236}">
                <a16:creationId xmlns:a16="http://schemas.microsoft.com/office/drawing/2014/main" id="{5DED11AE-48A6-43DA-B206-E932BB964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  <p:pic>
        <p:nvPicPr>
          <p:cNvPr id="13" name="Immagine 8">
            <a:extLst>
              <a:ext uri="{FF2B5EF4-FFF2-40B4-BE49-F238E27FC236}">
                <a16:creationId xmlns:a16="http://schemas.microsoft.com/office/drawing/2014/main" id="{708B99D3-A207-45CD-ACBC-0C0401B2C5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9972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gress char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/>
          <p:cNvSpPr>
            <a:spLocks noGrp="1"/>
          </p:cNvSpPr>
          <p:nvPr>
            <p:ph type="pic" sz="quarter" idx="14"/>
          </p:nvPr>
        </p:nvSpPr>
        <p:spPr>
          <a:xfrm>
            <a:off x="0" y="785257"/>
            <a:ext cx="6209955" cy="598932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1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1 w 10000"/>
              <a:gd name="connsiteY4" fmla="*/ 0 h 10000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10002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7751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10000">
                <a:moveTo>
                  <a:pt x="2" y="0"/>
                </a:moveTo>
                <a:lnTo>
                  <a:pt x="10002" y="0"/>
                </a:lnTo>
                <a:lnTo>
                  <a:pt x="7751" y="10000"/>
                </a:lnTo>
                <a:lnTo>
                  <a:pt x="2" y="10000"/>
                </a:lnTo>
                <a:cubicBezTo>
                  <a:pt x="9" y="6667"/>
                  <a:pt x="-5" y="3333"/>
                  <a:pt x="2" y="0"/>
                </a:cubicBezTo>
                <a:close/>
              </a:path>
            </a:pathLst>
          </a:custGeom>
          <a:solidFill>
            <a:srgbClr val="F3BF00">
              <a:alpha val="49804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it-IT" dirty="0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1135965" y="1138334"/>
            <a:ext cx="5333529" cy="5297529"/>
          </a:xfrm>
          <a:prstGeom prst="ellipse">
            <a:avLst/>
          </a:prstGeom>
          <a:solidFill>
            <a:srgbClr val="C6C6C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egnaposto tabella 7"/>
          <p:cNvSpPr>
            <a:spLocks noGrp="1"/>
          </p:cNvSpPr>
          <p:nvPr>
            <p:ph type="tbl" sz="quarter" idx="15"/>
          </p:nvPr>
        </p:nvSpPr>
        <p:spPr>
          <a:xfrm>
            <a:off x="6587411" y="4273984"/>
            <a:ext cx="5016599" cy="220973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table</a:t>
            </a:r>
            <a:endParaRPr lang="it-IT" dirty="0"/>
          </a:p>
        </p:txBody>
      </p:sp>
      <p:sp>
        <p:nvSpPr>
          <p:cNvPr id="12" name="Segnaposto grafico 11"/>
          <p:cNvSpPr>
            <a:spLocks noGrp="1"/>
          </p:cNvSpPr>
          <p:nvPr>
            <p:ph type="chart" sz="quarter" idx="16"/>
          </p:nvPr>
        </p:nvSpPr>
        <p:spPr>
          <a:xfrm>
            <a:off x="6587413" y="964413"/>
            <a:ext cx="5016598" cy="3237737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chart</a:t>
            </a:r>
            <a:endParaRPr lang="it-IT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42EF16D-AB05-4D59-8925-A96DDA1D81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1" name="Segnaposto numero diapositiva 2">
            <a:extLst>
              <a:ext uri="{FF2B5EF4-FFF2-40B4-BE49-F238E27FC236}">
                <a16:creationId xmlns:a16="http://schemas.microsoft.com/office/drawing/2014/main" id="{A64B7CF0-025B-4FCF-B6E1-D9D22316D92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1D5867DC-E179-4697-B728-D5E727A664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  <p:pic>
        <p:nvPicPr>
          <p:cNvPr id="14" name="Immagine 8">
            <a:extLst>
              <a:ext uri="{FF2B5EF4-FFF2-40B4-BE49-F238E27FC236}">
                <a16:creationId xmlns:a16="http://schemas.microsoft.com/office/drawing/2014/main" id="{DBDEF073-A96D-49F1-9749-6F52EC927B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78697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es with line separation and shad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testo 11"/>
          <p:cNvSpPr>
            <a:spLocks noGrp="1"/>
          </p:cNvSpPr>
          <p:nvPr>
            <p:ph type="body" sz="quarter" idx="10"/>
          </p:nvPr>
        </p:nvSpPr>
        <p:spPr>
          <a:xfrm>
            <a:off x="640799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01B1C9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Segnaposto testo 13"/>
          <p:cNvSpPr>
            <a:spLocks noGrp="1"/>
          </p:cNvSpPr>
          <p:nvPr>
            <p:ph type="body" sz="quarter" idx="11"/>
          </p:nvPr>
        </p:nvSpPr>
        <p:spPr>
          <a:xfrm>
            <a:off x="4460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2"/>
          </p:nvPr>
        </p:nvSpPr>
        <p:spPr>
          <a:xfrm>
            <a:off x="8276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chemeClr val="bg1">
                <a:lumMod val="75000"/>
              </a:schemeClr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8" name="Connettore 1 13"/>
          <p:cNvCxnSpPr/>
          <p:nvPr userDrawn="1"/>
        </p:nvCxnSpPr>
        <p:spPr>
          <a:xfrm>
            <a:off x="4070685" y="113107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1 13"/>
          <p:cNvCxnSpPr/>
          <p:nvPr userDrawn="1"/>
        </p:nvCxnSpPr>
        <p:spPr>
          <a:xfrm>
            <a:off x="7880684" y="113040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egnaposto testo 31"/>
          <p:cNvSpPr>
            <a:spLocks noGrp="1"/>
          </p:cNvSpPr>
          <p:nvPr>
            <p:ph type="body" sz="quarter" idx="16"/>
          </p:nvPr>
        </p:nvSpPr>
        <p:spPr>
          <a:xfrm>
            <a:off x="1389600" y="5407200"/>
            <a:ext cx="9486000" cy="7308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>
            <a:normAutofit/>
          </a:bodyPr>
          <a:lstStyle>
            <a:lvl1pPr algn="ctr">
              <a:buNone/>
              <a:defRPr sz="1600" b="1" i="0" baseline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Segnaposto testo 19"/>
          <p:cNvSpPr>
            <a:spLocks noGrp="1"/>
          </p:cNvSpPr>
          <p:nvPr>
            <p:ph type="body" sz="quarter" idx="17" hasCustomPrompt="1"/>
          </p:nvPr>
        </p:nvSpPr>
        <p:spPr>
          <a:xfrm>
            <a:off x="640800" y="2209575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21" name="Segnaposto testo 19"/>
          <p:cNvSpPr>
            <a:spLocks noGrp="1"/>
          </p:cNvSpPr>
          <p:nvPr>
            <p:ph type="body" sz="quarter" idx="18" hasCustomPrompt="1"/>
          </p:nvPr>
        </p:nvSpPr>
        <p:spPr>
          <a:xfrm>
            <a:off x="4460400" y="2242232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22" name="Segnaposto testo 19"/>
          <p:cNvSpPr>
            <a:spLocks noGrp="1"/>
          </p:cNvSpPr>
          <p:nvPr>
            <p:ph type="body" sz="quarter" idx="19" hasCustomPrompt="1"/>
          </p:nvPr>
        </p:nvSpPr>
        <p:spPr>
          <a:xfrm>
            <a:off x="8276400" y="2264004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6942CEC-B03D-4250-8A31-6750985414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9" name="Segnaposto numero diapositiva 2">
            <a:extLst>
              <a:ext uri="{FF2B5EF4-FFF2-40B4-BE49-F238E27FC236}">
                <a16:creationId xmlns:a16="http://schemas.microsoft.com/office/drawing/2014/main" id="{9B1F8DF2-ACD9-421C-802F-15A8C8DF2DB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15" name="Segnaposto piè di pagina 2">
            <a:extLst>
              <a:ext uri="{FF2B5EF4-FFF2-40B4-BE49-F238E27FC236}">
                <a16:creationId xmlns:a16="http://schemas.microsoft.com/office/drawing/2014/main" id="{86CB8E07-1D78-438B-9E9B-643F2B8B1A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218889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boxes with line separation and shad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testo 11"/>
          <p:cNvSpPr>
            <a:spLocks noGrp="1"/>
          </p:cNvSpPr>
          <p:nvPr>
            <p:ph type="body" sz="quarter" idx="10"/>
          </p:nvPr>
        </p:nvSpPr>
        <p:spPr>
          <a:xfrm>
            <a:off x="640799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01B1C9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Segnaposto testo 13"/>
          <p:cNvSpPr>
            <a:spLocks noGrp="1"/>
          </p:cNvSpPr>
          <p:nvPr>
            <p:ph type="body" sz="quarter" idx="11"/>
          </p:nvPr>
        </p:nvSpPr>
        <p:spPr>
          <a:xfrm>
            <a:off x="4460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2"/>
          </p:nvPr>
        </p:nvSpPr>
        <p:spPr>
          <a:xfrm>
            <a:off x="8276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chemeClr val="bg1">
                <a:lumMod val="75000"/>
              </a:schemeClr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8" name="Connettore 1 13"/>
          <p:cNvCxnSpPr/>
          <p:nvPr userDrawn="1"/>
        </p:nvCxnSpPr>
        <p:spPr>
          <a:xfrm>
            <a:off x="4070685" y="113107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1 13"/>
          <p:cNvCxnSpPr/>
          <p:nvPr userDrawn="1"/>
        </p:nvCxnSpPr>
        <p:spPr>
          <a:xfrm>
            <a:off x="7880684" y="113040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egnaposto testo 31"/>
          <p:cNvSpPr>
            <a:spLocks noGrp="1"/>
          </p:cNvSpPr>
          <p:nvPr>
            <p:ph type="body" sz="quarter" idx="16"/>
          </p:nvPr>
        </p:nvSpPr>
        <p:spPr>
          <a:xfrm>
            <a:off x="1389600" y="5407200"/>
            <a:ext cx="9486000" cy="7308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>
            <a:normAutofit/>
          </a:bodyPr>
          <a:lstStyle>
            <a:lvl1pPr algn="ctr">
              <a:buNone/>
              <a:defRPr sz="1600" b="1" i="0" baseline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Segnaposto testo 19"/>
          <p:cNvSpPr>
            <a:spLocks noGrp="1"/>
          </p:cNvSpPr>
          <p:nvPr>
            <p:ph type="body" sz="quarter" idx="17" hasCustomPrompt="1"/>
          </p:nvPr>
        </p:nvSpPr>
        <p:spPr>
          <a:xfrm>
            <a:off x="640800" y="2209575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21" name="Segnaposto testo 19"/>
          <p:cNvSpPr>
            <a:spLocks noGrp="1"/>
          </p:cNvSpPr>
          <p:nvPr>
            <p:ph type="body" sz="quarter" idx="18" hasCustomPrompt="1"/>
          </p:nvPr>
        </p:nvSpPr>
        <p:spPr>
          <a:xfrm>
            <a:off x="4460400" y="2242232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22" name="Segnaposto testo 19"/>
          <p:cNvSpPr>
            <a:spLocks noGrp="1"/>
          </p:cNvSpPr>
          <p:nvPr>
            <p:ph type="body" sz="quarter" idx="19" hasCustomPrompt="1"/>
          </p:nvPr>
        </p:nvSpPr>
        <p:spPr>
          <a:xfrm>
            <a:off x="8276400" y="2264004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F38597D-6639-4651-9FC9-D2811A24DC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9" name="Segnaposto numero diapositiva 2">
            <a:extLst>
              <a:ext uri="{FF2B5EF4-FFF2-40B4-BE49-F238E27FC236}">
                <a16:creationId xmlns:a16="http://schemas.microsoft.com/office/drawing/2014/main" id="{3166C9D8-2E46-423D-81F4-E0718F7BC86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15" name="Segnaposto piè di pagina 2">
            <a:extLst>
              <a:ext uri="{FF2B5EF4-FFF2-40B4-BE49-F238E27FC236}">
                <a16:creationId xmlns:a16="http://schemas.microsoft.com/office/drawing/2014/main" id="{EE68494A-2ABD-4E05-8AB9-7A667971AF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9261979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8A0D947-5931-4227-AE62-D40527E3E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5" name="Segnaposto piè di pagina 2">
            <a:extLst>
              <a:ext uri="{FF2B5EF4-FFF2-40B4-BE49-F238E27FC236}">
                <a16:creationId xmlns:a16="http://schemas.microsoft.com/office/drawing/2014/main" id="{64110FF0-219B-4F84-A075-8C006118ED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525526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154588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7">
            <a:extLst>
              <a:ext uri="{FF2B5EF4-FFF2-40B4-BE49-F238E27FC236}">
                <a16:creationId xmlns:a16="http://schemas.microsoft.com/office/drawing/2014/main" id="{1AAD491E-1EA0-47EE-9B38-C36879304DBF}"/>
              </a:ext>
            </a:extLst>
          </p:cNvPr>
          <p:cNvSpPr/>
          <p:nvPr userDrawn="1"/>
        </p:nvSpPr>
        <p:spPr>
          <a:xfrm>
            <a:off x="0" y="2362200"/>
            <a:ext cx="12191999" cy="2133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그림 개체 틀 6">
            <a:extLst>
              <a:ext uri="{FF2B5EF4-FFF2-40B4-BE49-F238E27FC236}">
                <a16:creationId xmlns:a16="http://schemas.microsoft.com/office/drawing/2014/main" id="{ADA58810-BEDD-4D33-B6DF-414C92F116C0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534029" y="2"/>
            <a:ext cx="6657973" cy="6857999"/>
          </a:xfrm>
          <a:custGeom>
            <a:avLst/>
            <a:gdLst>
              <a:gd name="connsiteX0" fmla="*/ 2362199 w 6657973"/>
              <a:gd name="connsiteY0" fmla="*/ 0 h 6857999"/>
              <a:gd name="connsiteX1" fmla="*/ 6657973 w 6657973"/>
              <a:gd name="connsiteY1" fmla="*/ 0 h 6857999"/>
              <a:gd name="connsiteX2" fmla="*/ 6657973 w 6657973"/>
              <a:gd name="connsiteY2" fmla="*/ 3630706 h 6857999"/>
              <a:gd name="connsiteX3" fmla="*/ 6657972 w 6657973"/>
              <a:gd name="connsiteY3" fmla="*/ 6857999 h 6857999"/>
              <a:gd name="connsiteX4" fmla="*/ 2362198 w 6657973"/>
              <a:gd name="connsiteY4" fmla="*/ 6857999 h 6857999"/>
              <a:gd name="connsiteX5" fmla="*/ 2362198 w 6657973"/>
              <a:gd name="connsiteY5" fmla="*/ 6857999 h 6857999"/>
              <a:gd name="connsiteX6" fmla="*/ 0 w 6657973"/>
              <a:gd name="connsiteY6" fmla="*/ 343853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57973" h="6857999">
                <a:moveTo>
                  <a:pt x="2362199" y="0"/>
                </a:moveTo>
                <a:lnTo>
                  <a:pt x="6657973" y="0"/>
                </a:lnTo>
                <a:lnTo>
                  <a:pt x="6657973" y="3630706"/>
                </a:lnTo>
                <a:lnTo>
                  <a:pt x="6657972" y="6857999"/>
                </a:lnTo>
                <a:lnTo>
                  <a:pt x="2362198" y="6857999"/>
                </a:lnTo>
                <a:lnTo>
                  <a:pt x="2362198" y="6857999"/>
                </a:lnTo>
                <a:lnTo>
                  <a:pt x="0" y="34385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pic>
        <p:nvPicPr>
          <p:cNvPr id="5" name="Immagine 8">
            <a:extLst>
              <a:ext uri="{FF2B5EF4-FFF2-40B4-BE49-F238E27FC236}">
                <a16:creationId xmlns:a16="http://schemas.microsoft.com/office/drawing/2014/main" id="{C902A94B-F441-4C44-A590-8C0E54C089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2206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- 5 lev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 sz="2400"/>
            </a:lvl1pPr>
          </a:lstStyle>
          <a:p>
            <a:endParaRPr lang="en-GB" dirty="0"/>
          </a:p>
        </p:txBody>
      </p:sp>
      <p:sp>
        <p:nvSpPr>
          <p:cNvPr id="5" name="Segnaposto contenuto 2"/>
          <p:cNvSpPr>
            <a:spLocks noGrp="1"/>
          </p:cNvSpPr>
          <p:nvPr>
            <p:ph sz="quarter" idx="10" hasCustomPrompt="1"/>
          </p:nvPr>
        </p:nvSpPr>
        <p:spPr>
          <a:xfrm>
            <a:off x="641246" y="1602000"/>
            <a:ext cx="10824534" cy="4323600"/>
          </a:xfrm>
        </p:spPr>
        <p:txBody>
          <a:bodyPr/>
          <a:lstStyle>
            <a:lvl1pPr marL="342891" indent="-342891">
              <a:buFont typeface="Wingdings" panose="05000000000000000000" pitchFamily="2" charset="2"/>
              <a:buChar char="§"/>
              <a:defRPr/>
            </a:lvl1pPr>
            <a:lvl2pPr>
              <a:buClr>
                <a:srgbClr val="01B1C9"/>
              </a:buClr>
              <a:defRPr/>
            </a:lvl2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  <p:sp>
        <p:nvSpPr>
          <p:cNvPr id="4" name="Segnaposto piè di pagina 2">
            <a:extLst>
              <a:ext uri="{FF2B5EF4-FFF2-40B4-BE49-F238E27FC236}">
                <a16:creationId xmlns:a16="http://schemas.microsoft.com/office/drawing/2014/main" id="{E563F9FF-B8D0-4DDB-931E-C4E2968751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  <p:pic>
        <p:nvPicPr>
          <p:cNvPr id="6" name="Immagine 8">
            <a:extLst>
              <a:ext uri="{FF2B5EF4-FFF2-40B4-BE49-F238E27FC236}">
                <a16:creationId xmlns:a16="http://schemas.microsoft.com/office/drawing/2014/main" id="{90A6841C-776D-4D28-80F7-4C283F4507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5556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D951BEC-6D24-4D80-BDEE-5778CEABCB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4344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t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877FD6-306E-4787-AC20-4F0061D7C2B5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F9E27A2-87EC-45AA-902D-31AA918DD4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7512" y="6530073"/>
            <a:ext cx="80710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02A44DB-F395-4A25-91A5-3D41C0F9E3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75609" y="64552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Content Placeholder 7">
            <a:extLst>
              <a:ext uri="{FF2B5EF4-FFF2-40B4-BE49-F238E27FC236}">
                <a16:creationId xmlns:a16="http://schemas.microsoft.com/office/drawing/2014/main" id="{8264A752-70D9-434A-94B7-FF2C86E32A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76136EA-776E-4BBF-B0C3-A2681D1066F7}"/>
              </a:ext>
            </a:extLst>
          </p:cNvPr>
          <p:cNvSpPr/>
          <p:nvPr userDrawn="1"/>
        </p:nvSpPr>
        <p:spPr>
          <a:xfrm>
            <a:off x="-1" y="4244083"/>
            <a:ext cx="9757038" cy="1536700"/>
          </a:xfrm>
          <a:prstGeom prst="rect">
            <a:avLst/>
          </a:prstGeom>
          <a:solidFill>
            <a:srgbClr val="00ABC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0FE704E-4644-43BF-B6A7-320FC061E47B}"/>
              </a:ext>
            </a:extLst>
          </p:cNvPr>
          <p:cNvSpPr/>
          <p:nvPr userDrawn="1"/>
        </p:nvSpPr>
        <p:spPr>
          <a:xfrm>
            <a:off x="-1" y="5765296"/>
            <a:ext cx="8089643" cy="126853"/>
          </a:xfrm>
          <a:prstGeom prst="rect">
            <a:avLst/>
          </a:prstGeom>
          <a:solidFill>
            <a:srgbClr val="FBD741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25D9C2-03A7-4921-A754-89324102A227}"/>
              </a:ext>
            </a:extLst>
          </p:cNvPr>
          <p:cNvSpPr/>
          <p:nvPr userDrawn="1"/>
        </p:nvSpPr>
        <p:spPr>
          <a:xfrm>
            <a:off x="613037" y="5726867"/>
            <a:ext cx="215475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/>
              <a:t>© 2021 Karachaganak Petroleum Operating </a:t>
            </a:r>
            <a:r>
              <a:rPr lang="en-GB" sz="800" dirty="0" err="1"/>
              <a:t>b.v</a:t>
            </a:r>
            <a:endParaRPr lang="en-GB" sz="800" dirty="0"/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E10B9D07-1445-4D84-B94A-B4A83DA4509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28599" y="4731905"/>
            <a:ext cx="8848726" cy="9521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pCom/ConCom/JOC and/or any other external/internal meetings/forums/sessions </a:t>
            </a:r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08118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a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E6E27E7-CC38-4027-931D-60332C9F01EE}"/>
              </a:ext>
            </a:extLst>
          </p:cNvPr>
          <p:cNvSpPr/>
          <p:nvPr userDrawn="1"/>
        </p:nvSpPr>
        <p:spPr>
          <a:xfrm>
            <a:off x="0" y="2266689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DC44B6A-AE27-49EB-88BC-311AE80A2A3D}"/>
              </a:ext>
            </a:extLst>
          </p:cNvPr>
          <p:cNvSpPr/>
          <p:nvPr userDrawn="1"/>
        </p:nvSpPr>
        <p:spPr>
          <a:xfrm>
            <a:off x="0" y="34290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96A4FB-8760-48CD-BD01-1895C21C26C4}"/>
              </a:ext>
            </a:extLst>
          </p:cNvPr>
          <p:cNvSpPr/>
          <p:nvPr userDrawn="1"/>
        </p:nvSpPr>
        <p:spPr>
          <a:xfrm>
            <a:off x="683568" y="3914244"/>
            <a:ext cx="770350" cy="1334334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1">
              <a:solidFill>
                <a:srgbClr val="00B5C9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915E9B-C567-4570-9ED5-511D2ECB10D3}"/>
              </a:ext>
            </a:extLst>
          </p:cNvPr>
          <p:cNvSpPr/>
          <p:nvPr userDrawn="1"/>
        </p:nvSpPr>
        <p:spPr>
          <a:xfrm>
            <a:off x="6096000" y="6754812"/>
            <a:ext cx="6096000" cy="103188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0AD4F9E-6EC6-4CDA-B42A-833E27CB1001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Segnaposto numero diapositiva 2">
            <a:extLst>
              <a:ext uri="{FF2B5EF4-FFF2-40B4-BE49-F238E27FC236}">
                <a16:creationId xmlns:a16="http://schemas.microsoft.com/office/drawing/2014/main" id="{A850ED62-A3B7-4801-B80D-B642B800D9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858B94E-595B-4CDB-86C7-146594FB69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0093" y="1352392"/>
            <a:ext cx="2098907" cy="1581570"/>
          </a:xfrm>
          <a:prstGeom prst="rect">
            <a:avLst/>
          </a:prstGeom>
        </p:spPr>
      </p:pic>
      <p:pic>
        <p:nvPicPr>
          <p:cNvPr id="15" name="Immagine 8">
            <a:extLst>
              <a:ext uri="{FF2B5EF4-FFF2-40B4-BE49-F238E27FC236}">
                <a16:creationId xmlns:a16="http://schemas.microsoft.com/office/drawing/2014/main" id="{6A120B41-DBB9-4592-8062-196913E23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0835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3F82AA-6A3C-4B7E-8611-DE58C4244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229" y="403225"/>
            <a:ext cx="4921541" cy="473075"/>
          </a:xfrm>
          <a:prstGeom prst="rect">
            <a:avLst/>
          </a:prstGeom>
        </p:spPr>
        <p:txBody>
          <a:bodyPr/>
          <a:lstStyle>
            <a:lvl1pPr algn="ctr"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8DEA17-3889-4D77-AD3E-7CA42BD25B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A0AF6-E3A1-46D2-A4E3-F374DCDE6AA2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62E90-CA0C-4467-8A15-A230BBAA45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9A4455-E56D-4A2B-AC9E-10EA0546D5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95054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855B43B8-51EA-423C-AA9B-BDFD3D5151AC}"/>
              </a:ext>
            </a:extLst>
          </p:cNvPr>
          <p:cNvSpPr/>
          <p:nvPr userDrawn="1"/>
        </p:nvSpPr>
        <p:spPr>
          <a:xfrm>
            <a:off x="0" y="3535062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728B678-13FB-4938-8058-8E21911E9D7A}"/>
              </a:ext>
            </a:extLst>
          </p:cNvPr>
          <p:cNvSpPr/>
          <p:nvPr userDrawn="1"/>
        </p:nvSpPr>
        <p:spPr>
          <a:xfrm>
            <a:off x="683568" y="4149194"/>
            <a:ext cx="770350" cy="1334334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1">
              <a:solidFill>
                <a:srgbClr val="00B5C9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91F3C88-6932-43FB-B127-883BE07E4F68}"/>
              </a:ext>
            </a:extLst>
          </p:cNvPr>
          <p:cNvSpPr/>
          <p:nvPr userDrawn="1"/>
        </p:nvSpPr>
        <p:spPr>
          <a:xfrm>
            <a:off x="0" y="-8238"/>
            <a:ext cx="12192000" cy="3543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5AC5782-9956-4A28-9090-97585E3C4EA4}"/>
              </a:ext>
            </a:extLst>
          </p:cNvPr>
          <p:cNvSpPr/>
          <p:nvPr userDrawn="1"/>
        </p:nvSpPr>
        <p:spPr>
          <a:xfrm>
            <a:off x="0" y="34290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3F1AA14-047E-49CB-B7E7-5567060E5078}"/>
              </a:ext>
            </a:extLst>
          </p:cNvPr>
          <p:cNvSpPr/>
          <p:nvPr userDrawn="1"/>
        </p:nvSpPr>
        <p:spPr>
          <a:xfrm>
            <a:off x="6096000" y="6751938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2B8C3BD-09D3-490C-8BB3-D8CC55BA09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2693" y="1367471"/>
            <a:ext cx="2098907" cy="1581570"/>
          </a:xfrm>
          <a:prstGeom prst="rect">
            <a:avLst/>
          </a:prstGeom>
        </p:spPr>
      </p:pic>
      <p:sp>
        <p:nvSpPr>
          <p:cNvPr id="21" name="Titolo 1">
            <a:extLst>
              <a:ext uri="{FF2B5EF4-FFF2-40B4-BE49-F238E27FC236}">
                <a16:creationId xmlns:a16="http://schemas.microsoft.com/office/drawing/2014/main" id="{F0BB45C6-8760-4DFF-A3EC-4E4CEFF26E0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0699" y="3268740"/>
            <a:ext cx="1276088" cy="1866057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ctr" eaLnBrk="1" hangingPunct="1">
              <a:defRPr lang="it-IT" sz="4000" b="1" kern="1200" dirty="0">
                <a:solidFill>
                  <a:srgbClr val="FFFFFF"/>
                </a:solidFill>
                <a:latin typeface="+mn-lt"/>
                <a:ea typeface="+mj-ea"/>
                <a:cs typeface="+mj-cs"/>
              </a:defRPr>
            </a:lvl1pPr>
          </a:lstStyle>
          <a:p>
            <a:pPr eaLnBrk="1" hangingPunct="1"/>
            <a:r>
              <a:rPr lang="en-US" altLang="en-US" sz="3600" b="1" dirty="0">
                <a:solidFill>
                  <a:srgbClr val="FFFFFF"/>
                </a:solidFill>
                <a:cs typeface="Arial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26547293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4F85D4-350A-4934-94C2-B0CF17F11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5ACA7A-E45D-454A-AFEE-88D14AAC514F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805AC1-3FF1-4AF9-8803-3CBBBFF911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EB158-BBFC-43BB-8377-A5774A8AE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icture Placeholder 20">
            <a:extLst>
              <a:ext uri="{FF2B5EF4-FFF2-40B4-BE49-F238E27FC236}">
                <a16:creationId xmlns:a16="http://schemas.microsoft.com/office/drawing/2014/main" id="{11C1103D-CEF6-4A34-BB84-9CD9D6AF06B9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7" name="Picture Placeholder 18">
            <a:extLst>
              <a:ext uri="{FF2B5EF4-FFF2-40B4-BE49-F238E27FC236}">
                <a16:creationId xmlns:a16="http://schemas.microsoft.com/office/drawing/2014/main" id="{B10DB224-1BDC-4CBE-90F4-38C848316105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8" name="Picture Placeholder 19">
            <a:extLst>
              <a:ext uri="{FF2B5EF4-FFF2-40B4-BE49-F238E27FC236}">
                <a16:creationId xmlns:a16="http://schemas.microsoft.com/office/drawing/2014/main" id="{0451E06C-C20B-4542-80E3-B5BF078B8A87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8406406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F9FA7A-FCC0-44E8-ADF7-832DF1328D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1296" y="402794"/>
            <a:ext cx="5568950" cy="582613"/>
          </a:xfrm>
          <a:prstGeom prst="rect">
            <a:avLst/>
          </a:prstGeo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A6C748-72DD-4C78-861F-A78C0222C9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B8E457-AB31-43BD-AB15-FFD9B62AF2FC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EC9F04-8F47-4F4F-A1CD-7BA9AE005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직사각형 7">
            <a:extLst>
              <a:ext uri="{FF2B5EF4-FFF2-40B4-BE49-F238E27FC236}">
                <a16:creationId xmlns:a16="http://schemas.microsoft.com/office/drawing/2014/main" id="{8B5DE974-BFF0-4731-95F9-6EEFBA0F11BE}"/>
              </a:ext>
            </a:extLst>
          </p:cNvPr>
          <p:cNvSpPr/>
          <p:nvPr userDrawn="1"/>
        </p:nvSpPr>
        <p:spPr>
          <a:xfrm>
            <a:off x="0" y="2362200"/>
            <a:ext cx="12191999" cy="2133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그림 개체 틀 6">
            <a:extLst>
              <a:ext uri="{FF2B5EF4-FFF2-40B4-BE49-F238E27FC236}">
                <a16:creationId xmlns:a16="http://schemas.microsoft.com/office/drawing/2014/main" id="{069EA79A-7C3E-4577-896A-2E9E2230893C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534029" y="2"/>
            <a:ext cx="6657973" cy="6857999"/>
          </a:xfrm>
          <a:custGeom>
            <a:avLst/>
            <a:gdLst>
              <a:gd name="connsiteX0" fmla="*/ 2362199 w 6657973"/>
              <a:gd name="connsiteY0" fmla="*/ 0 h 6857999"/>
              <a:gd name="connsiteX1" fmla="*/ 6657973 w 6657973"/>
              <a:gd name="connsiteY1" fmla="*/ 0 h 6857999"/>
              <a:gd name="connsiteX2" fmla="*/ 6657973 w 6657973"/>
              <a:gd name="connsiteY2" fmla="*/ 3630706 h 6857999"/>
              <a:gd name="connsiteX3" fmla="*/ 6657972 w 6657973"/>
              <a:gd name="connsiteY3" fmla="*/ 6857999 h 6857999"/>
              <a:gd name="connsiteX4" fmla="*/ 2362198 w 6657973"/>
              <a:gd name="connsiteY4" fmla="*/ 6857999 h 6857999"/>
              <a:gd name="connsiteX5" fmla="*/ 2362198 w 6657973"/>
              <a:gd name="connsiteY5" fmla="*/ 6857999 h 6857999"/>
              <a:gd name="connsiteX6" fmla="*/ 0 w 6657973"/>
              <a:gd name="connsiteY6" fmla="*/ 343853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57973" h="6857999">
                <a:moveTo>
                  <a:pt x="2362199" y="0"/>
                </a:moveTo>
                <a:lnTo>
                  <a:pt x="6657973" y="0"/>
                </a:lnTo>
                <a:lnTo>
                  <a:pt x="6657973" y="3630706"/>
                </a:lnTo>
                <a:lnTo>
                  <a:pt x="6657972" y="6857999"/>
                </a:lnTo>
                <a:lnTo>
                  <a:pt x="2362198" y="6857999"/>
                </a:lnTo>
                <a:lnTo>
                  <a:pt x="2362198" y="6857999"/>
                </a:lnTo>
                <a:lnTo>
                  <a:pt x="0" y="34385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D550EE-67B9-43DA-9CFD-4C1DCE163A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60172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A241F4F-C16C-4747-B37C-642EF39ECC44}"/>
              </a:ext>
            </a:extLst>
          </p:cNvPr>
          <p:cNvSpPr/>
          <p:nvPr userDrawn="1"/>
        </p:nvSpPr>
        <p:spPr>
          <a:xfrm>
            <a:off x="0" y="3543300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AFE592-FBF3-49A2-95E7-8917B7DD4DF4}"/>
              </a:ext>
            </a:extLst>
          </p:cNvPr>
          <p:cNvSpPr/>
          <p:nvPr userDrawn="1"/>
        </p:nvSpPr>
        <p:spPr>
          <a:xfrm>
            <a:off x="6096000" y="6754812"/>
            <a:ext cx="6096000" cy="103188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AF9BB6F-1977-43D2-802F-64D37E3FB1DE}"/>
              </a:ext>
            </a:extLst>
          </p:cNvPr>
          <p:cNvSpPr/>
          <p:nvPr userDrawn="1"/>
        </p:nvSpPr>
        <p:spPr>
          <a:xfrm>
            <a:off x="0" y="0"/>
            <a:ext cx="12192000" cy="3543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1F5FAC-9DE8-4A62-BF70-AD6851D91F31}"/>
              </a:ext>
            </a:extLst>
          </p:cNvPr>
          <p:cNvSpPr txBox="1"/>
          <p:nvPr userDrawn="1"/>
        </p:nvSpPr>
        <p:spPr>
          <a:xfrm>
            <a:off x="4378777" y="2584036"/>
            <a:ext cx="455204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400" dirty="0">
                <a:solidFill>
                  <a:schemeClr val="accent1"/>
                </a:solidFill>
                <a:cs typeface="Arial" pitchFamily="34" charset="0"/>
              </a:rPr>
              <a:t>Thank You!</a:t>
            </a:r>
            <a:endParaRPr lang="ko-KR" altLang="en-US" sz="5400" dirty="0">
              <a:solidFill>
                <a:schemeClr val="accent1"/>
              </a:solidFill>
              <a:cs typeface="Arial" pitchFamily="34" charset="0"/>
            </a:endParaRPr>
          </a:p>
          <a:p>
            <a:endParaRPr lang="en-GB" sz="5400" dirty="0">
              <a:solidFill>
                <a:schemeClr val="accent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B0FD7B9-2459-4D74-A331-FD4317680EC7}"/>
              </a:ext>
            </a:extLst>
          </p:cNvPr>
          <p:cNvSpPr/>
          <p:nvPr userDrawn="1"/>
        </p:nvSpPr>
        <p:spPr>
          <a:xfrm>
            <a:off x="0" y="34417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</p:spTree>
    <p:extLst>
      <p:ext uri="{BB962C8B-B14F-4D97-AF65-F5344CB8AC3E}">
        <p14:creationId xmlns:p14="http://schemas.microsoft.com/office/powerpoint/2010/main" val="88254085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8A0D947-5931-4227-AE62-D40527E3E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8" name="Picture Placeholder 20">
            <a:extLst>
              <a:ext uri="{FF2B5EF4-FFF2-40B4-BE49-F238E27FC236}">
                <a16:creationId xmlns:a16="http://schemas.microsoft.com/office/drawing/2014/main" id="{96AD8E23-45D7-4015-82F4-4F1D08D2ECEE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8093A54E-85BE-4508-BF9A-913B28F2A189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31980FD1-C947-46A3-8D90-A079E14193C0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6C15E9EB-3445-41FE-AEDA-28F5B40B63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5352060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7C981FE-A801-4FF1-8F20-E5072BE117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832023"/>
          </a:xfrm>
          <a:prstGeom prst="rect">
            <a:avLst/>
          </a:prstGeom>
        </p:spPr>
        <p:txBody>
          <a:bodyPr/>
          <a:lstStyle>
            <a:lvl1pPr>
              <a:defRPr sz="3200" b="0" cap="none" spc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7" name="Segnaposto numero diapositiva 2">
            <a:extLst>
              <a:ext uri="{FF2B5EF4-FFF2-40B4-BE49-F238E27FC236}">
                <a16:creationId xmlns:a16="http://schemas.microsoft.com/office/drawing/2014/main" id="{7ED0C059-87AB-4CD8-A09F-9327AAB0337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6" name="Segnaposto piè di pagina 2">
            <a:extLst>
              <a:ext uri="{FF2B5EF4-FFF2-40B4-BE49-F238E27FC236}">
                <a16:creationId xmlns:a16="http://schemas.microsoft.com/office/drawing/2014/main" id="{03937854-B971-4785-B88B-DBE80A1539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441912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15" name="Titolo 14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dirty="0"/>
              <a:t>AGENDA</a:t>
            </a:r>
          </a:p>
        </p:txBody>
      </p:sp>
      <p:sp>
        <p:nvSpPr>
          <p:cNvPr id="2" name="Segnaposto piè di pagina 1"/>
          <p:cNvSpPr>
            <a:spLocks noGrp="1"/>
          </p:cNvSpPr>
          <p:nvPr>
            <p:ph type="ftr" sz="quarter" idx="11"/>
          </p:nvPr>
        </p:nvSpPr>
        <p:spPr>
          <a:xfrm>
            <a:off x="7210" y="6430600"/>
            <a:ext cx="12015457" cy="332474"/>
          </a:xfrm>
          <a:prstGeom prst="rect">
            <a:avLst/>
          </a:prstGeom>
        </p:spPr>
        <p:txBody>
          <a:bodyPr/>
          <a:lstStyle/>
          <a:p>
            <a:r>
              <a:rPr lang="it-IT"/>
              <a:t>OpCom @16 June 2020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  <a:endParaRPr lang="it-IT" dirty="0"/>
          </a:p>
        </p:txBody>
      </p:sp>
      <p:sp>
        <p:nvSpPr>
          <p:cNvPr id="5" name="Segnaposto contenuto 2"/>
          <p:cNvSpPr>
            <a:spLocks noGrp="1"/>
          </p:cNvSpPr>
          <p:nvPr>
            <p:ph sz="quarter" idx="12" hasCustomPrompt="1"/>
          </p:nvPr>
        </p:nvSpPr>
        <p:spPr>
          <a:xfrm>
            <a:off x="641246" y="1602000"/>
            <a:ext cx="10824534" cy="4323600"/>
          </a:xfrm>
        </p:spPr>
        <p:txBody>
          <a:bodyPr/>
          <a:lstStyle>
            <a:lvl1pPr marL="342891" indent="-342891">
              <a:buFont typeface="Wingdings" panose="05000000000000000000" pitchFamily="2" charset="2"/>
              <a:buChar char="§"/>
              <a:defRPr/>
            </a:lvl1pPr>
            <a:lvl2pPr>
              <a:buClr>
                <a:srgbClr val="01B1C9"/>
              </a:buCl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09574114"/>
      </p:ext>
    </p:extLst>
  </p:cSld>
  <p:clrMapOvr>
    <a:masterClrMapping/>
  </p:clrMapOvr>
  <p:transition spd="slow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08520A-2203-46C4-87E5-136230ED5F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AE8E98-8062-4F94-B2D1-2FCEDF2DF15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040C8E-390B-44B7-9ED5-E091B3D0D2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2B7D25-67DE-41DE-A078-4B84BE811AD2}" type="datetimeFigureOut">
              <a:rPr lang="en-GB" smtClean="0"/>
              <a:t>22/1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FB2780-7639-46FB-A931-F0A7F21A40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6E779-DD1F-43BD-AEAD-FA3FCD72FE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F82F02-397A-48C7-9711-BA682D68D15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100491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76200"/>
            <a:ext cx="11120967" cy="762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09599" y="1066806"/>
            <a:ext cx="11121292" cy="464820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99630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7C981FE-A801-4FF1-8F20-E5072BE117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832023"/>
          </a:xfrm>
          <a:prstGeom prst="rect">
            <a:avLst/>
          </a:prstGeom>
        </p:spPr>
        <p:txBody>
          <a:bodyPr/>
          <a:lstStyle>
            <a:lvl1pPr>
              <a:defRPr sz="3200" b="0" cap="none" spc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7" name="Segnaposto numero diapositiva 2">
            <a:extLst>
              <a:ext uri="{FF2B5EF4-FFF2-40B4-BE49-F238E27FC236}">
                <a16:creationId xmlns:a16="http://schemas.microsoft.com/office/drawing/2014/main" id="{7ED0C059-87AB-4CD8-A09F-9327AAB0337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6" name="Segnaposto piè di pagina 2">
            <a:extLst>
              <a:ext uri="{FF2B5EF4-FFF2-40B4-BE49-F238E27FC236}">
                <a16:creationId xmlns:a16="http://schemas.microsoft.com/office/drawing/2014/main" id="{03937854-B971-4785-B88B-DBE80A1539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767875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a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E6E27E7-CC38-4027-931D-60332C9F01EE}"/>
              </a:ext>
            </a:extLst>
          </p:cNvPr>
          <p:cNvSpPr/>
          <p:nvPr userDrawn="1"/>
        </p:nvSpPr>
        <p:spPr>
          <a:xfrm>
            <a:off x="0" y="2266689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DC44B6A-AE27-49EB-88BC-311AE80A2A3D}"/>
              </a:ext>
            </a:extLst>
          </p:cNvPr>
          <p:cNvSpPr/>
          <p:nvPr userDrawn="1"/>
        </p:nvSpPr>
        <p:spPr>
          <a:xfrm>
            <a:off x="0" y="34290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96A4FB-8760-48CD-BD01-1895C21C26C4}"/>
              </a:ext>
            </a:extLst>
          </p:cNvPr>
          <p:cNvSpPr/>
          <p:nvPr userDrawn="1"/>
        </p:nvSpPr>
        <p:spPr>
          <a:xfrm>
            <a:off x="683568" y="3876480"/>
            <a:ext cx="770350" cy="1334334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1">
              <a:solidFill>
                <a:srgbClr val="00B5C9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0AD4F9E-6EC6-4CDA-B42A-833E27CB1001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858B94E-595B-4CDB-86C7-146594FB69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0093" y="1352392"/>
            <a:ext cx="2098907" cy="158157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FA9EDDA-2F3E-4E10-BB2D-0C7E6FB35C29}"/>
              </a:ext>
            </a:extLst>
          </p:cNvPr>
          <p:cNvSpPr/>
          <p:nvPr userDrawn="1"/>
        </p:nvSpPr>
        <p:spPr>
          <a:xfrm>
            <a:off x="6096000" y="5581389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</p:spTree>
    <p:extLst>
      <p:ext uri="{BB962C8B-B14F-4D97-AF65-F5344CB8AC3E}">
        <p14:creationId xmlns:p14="http://schemas.microsoft.com/office/powerpoint/2010/main" val="99010742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- 2 blocks seperate titles AND shaded NO lin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715992" y="2113472"/>
            <a:ext cx="5167223" cy="40761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n-lt"/>
              </a:defRPr>
            </a:lvl1pPr>
            <a:lvl2pPr>
              <a:buClr>
                <a:srgbClr val="01B1C9"/>
              </a:buClr>
              <a:defRPr sz="20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 marL="2057349" indent="-228594">
              <a:buFont typeface="Arial" panose="020B0604020202020204" pitchFamily="34" charset="0"/>
              <a:buChar char="√"/>
              <a:defRPr sz="16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206400" y="2113472"/>
            <a:ext cx="5259380" cy="4076191"/>
          </a:xfrm>
          <a:prstGeom prst="rect">
            <a:avLst/>
          </a:prstGeom>
        </p:spPr>
        <p:txBody>
          <a:bodyPr/>
          <a:lstStyle>
            <a:lvl2pPr>
              <a:buClr>
                <a:srgbClr val="01B1C9"/>
              </a:buClr>
              <a:defRPr/>
            </a:lvl2pPr>
            <a:lvl5pPr marL="2057349" indent="-228594">
              <a:buFont typeface="Arial" panose="020B0604020202020204" pitchFamily="34" charset="0"/>
              <a:buChar char="√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3"/>
          </p:nvPr>
        </p:nvSpPr>
        <p:spPr>
          <a:xfrm>
            <a:off x="1289095" y="1408026"/>
            <a:ext cx="4021016" cy="369332"/>
          </a:xfrm>
          <a:prstGeom prst="rect">
            <a:avLst/>
          </a:prstGeom>
          <a:solidFill>
            <a:schemeClr val="bg1"/>
          </a:solidFill>
          <a:effectLst>
            <a:outerShdw dist="101600" dir="8100000" algn="tr" rotWithShape="0">
              <a:srgbClr val="FFD500"/>
            </a:outerShdw>
          </a:effectLst>
        </p:spPr>
        <p:txBody>
          <a:bodyPr anchor="b" anchorCtr="1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6AECEC4-CA18-4F9C-AD5A-AE47FDBBED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59" y="219994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4" name="Segnaposto testo 4">
            <a:extLst>
              <a:ext uri="{FF2B5EF4-FFF2-40B4-BE49-F238E27FC236}">
                <a16:creationId xmlns:a16="http://schemas.microsoft.com/office/drawing/2014/main" id="{F94B7A51-08E2-4FE0-99F0-D37FCCE710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89095" y="1436695"/>
            <a:ext cx="4021016" cy="369332"/>
          </a:xfrm>
          <a:prstGeom prst="rect">
            <a:avLst/>
          </a:prstGeom>
          <a:solidFill>
            <a:schemeClr val="bg1"/>
          </a:solidFill>
          <a:effectLst>
            <a:outerShdw dist="101600" dir="8100000" algn="tr" rotWithShape="0">
              <a:srgbClr val="FFD500"/>
            </a:outerShdw>
          </a:effectLst>
        </p:spPr>
        <p:txBody>
          <a:bodyPr anchor="b" anchorCtr="1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Segnaposto testo 4">
            <a:extLst>
              <a:ext uri="{FF2B5EF4-FFF2-40B4-BE49-F238E27FC236}">
                <a16:creationId xmlns:a16="http://schemas.microsoft.com/office/drawing/2014/main" id="{4DFD6EFB-F132-4C8E-A396-00EC7C267A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81891" y="1436695"/>
            <a:ext cx="4021016" cy="369332"/>
          </a:xfrm>
          <a:prstGeom prst="rect">
            <a:avLst/>
          </a:prstGeom>
          <a:solidFill>
            <a:schemeClr val="bg1"/>
          </a:solidFill>
          <a:effectLst>
            <a:outerShdw dist="101600" dir="8100000" algn="tr" rotWithShape="0">
              <a:srgbClr val="FFD500"/>
            </a:outerShdw>
          </a:effectLst>
        </p:spPr>
        <p:txBody>
          <a:bodyPr anchor="b" anchorCtr="1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Segnaposto piè di pagina 2">
            <a:extLst>
              <a:ext uri="{FF2B5EF4-FFF2-40B4-BE49-F238E27FC236}">
                <a16:creationId xmlns:a16="http://schemas.microsoft.com/office/drawing/2014/main" id="{6FC8042E-3A8F-44A5-BBFB-78F81A05CC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21963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6717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GB" sz="800"/>
              <a:t>DD/MM/YYYY                    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KARACHAGANAK PETROLEUM OPERATING B.V</a:t>
            </a:r>
            <a:endParaRPr lang="en-GB" sz="800" dirty="0"/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9378CEC2-36B3-4AA7-8885-A5DD90980D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274" y="6525526"/>
            <a:ext cx="616226" cy="332474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3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09460635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0">
            <a:extLst>
              <a:ext uri="{FF2B5EF4-FFF2-40B4-BE49-F238E27FC236}">
                <a16:creationId xmlns:a16="http://schemas.microsoft.com/office/drawing/2014/main" id="{96AD8E23-45D7-4015-82F4-4F1D08D2ECEE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8093A54E-85BE-4508-BF9A-913B28F2A189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31980FD1-C947-46A3-8D90-A079E14193C0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070B5DD-5D66-4D70-9AF5-696B6E4328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59" y="219994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3" name="Segnaposto piè di pagina 2">
            <a:extLst>
              <a:ext uri="{FF2B5EF4-FFF2-40B4-BE49-F238E27FC236}">
                <a16:creationId xmlns:a16="http://schemas.microsoft.com/office/drawing/2014/main" id="{51939DF7-A329-424D-96C1-6BC753A8AC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21963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6717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GB" sz="800"/>
              <a:t>DD/MM/YYYY                    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KARACHAGANAK PETROLEUM OPERATING B.V</a:t>
            </a:r>
            <a:endParaRPr lang="en-GB" sz="800" dirty="0"/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4107208D-0357-45B8-BE90-963E3012DEF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274" y="6525526"/>
            <a:ext cx="616226" cy="332474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3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79353853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eparator 50% transpar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/>
          <p:cNvSpPr>
            <a:spLocks noGrp="1"/>
          </p:cNvSpPr>
          <p:nvPr>
            <p:ph type="pic" sz="quarter" idx="11"/>
          </p:nvPr>
        </p:nvSpPr>
        <p:spPr>
          <a:xfrm>
            <a:off x="0" y="858414"/>
            <a:ext cx="12192000" cy="5989320"/>
          </a:xfrm>
          <a:prstGeom prst="rect">
            <a:avLst/>
          </a:prstGeom>
          <a:solidFill>
            <a:srgbClr val="F3BF00">
              <a:alpha val="49804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it-IT" dirty="0"/>
          </a:p>
        </p:txBody>
      </p:sp>
      <p:sp>
        <p:nvSpPr>
          <p:cNvPr id="10" name="Segnaposto piè di pagina 2">
            <a:extLst>
              <a:ext uri="{FF2B5EF4-FFF2-40B4-BE49-F238E27FC236}">
                <a16:creationId xmlns:a16="http://schemas.microsoft.com/office/drawing/2014/main" id="{D4949BD4-9566-454D-A90D-D8E5533F95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25526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6717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GB" sz="800"/>
              <a:t>DD/MM/YYYY                    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KARACHAGANAK PETROLEUM OPERATING B.V</a:t>
            </a:r>
            <a:endParaRPr lang="en-GB" sz="800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F58EE96-63CF-4122-B331-CD7D33B2B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59" y="219994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2D7118C0-AAFD-4C51-A5B0-8BC4BAA390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274" y="6525526"/>
            <a:ext cx="616226" cy="332474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3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08922878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gress char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/>
          <p:cNvSpPr>
            <a:spLocks noGrp="1"/>
          </p:cNvSpPr>
          <p:nvPr>
            <p:ph type="pic" sz="quarter" idx="14"/>
          </p:nvPr>
        </p:nvSpPr>
        <p:spPr>
          <a:xfrm>
            <a:off x="0" y="857091"/>
            <a:ext cx="6209955" cy="598932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1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1 w 10000"/>
              <a:gd name="connsiteY4" fmla="*/ 0 h 10000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10002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7751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10000">
                <a:moveTo>
                  <a:pt x="2" y="0"/>
                </a:moveTo>
                <a:lnTo>
                  <a:pt x="10002" y="0"/>
                </a:lnTo>
                <a:lnTo>
                  <a:pt x="7751" y="10000"/>
                </a:lnTo>
                <a:lnTo>
                  <a:pt x="2" y="10000"/>
                </a:lnTo>
                <a:cubicBezTo>
                  <a:pt x="9" y="6667"/>
                  <a:pt x="-5" y="3333"/>
                  <a:pt x="2" y="0"/>
                </a:cubicBezTo>
                <a:close/>
              </a:path>
            </a:pathLst>
          </a:custGeom>
          <a:solidFill>
            <a:srgbClr val="FFD500">
              <a:alpha val="50000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it-IT" dirty="0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3313667" y="1969732"/>
            <a:ext cx="3682800" cy="3682800"/>
          </a:xfrm>
          <a:prstGeom prst="ellipse">
            <a:avLst/>
          </a:prstGeom>
          <a:solidFill>
            <a:srgbClr val="C6C6C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egnaposto tabella 7"/>
          <p:cNvSpPr>
            <a:spLocks noGrp="1"/>
          </p:cNvSpPr>
          <p:nvPr>
            <p:ph type="tbl" sz="quarter" idx="15"/>
          </p:nvPr>
        </p:nvSpPr>
        <p:spPr>
          <a:xfrm>
            <a:off x="7249886" y="950400"/>
            <a:ext cx="4354125" cy="38268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table</a:t>
            </a:r>
            <a:endParaRPr lang="it-IT" dirty="0"/>
          </a:p>
        </p:txBody>
      </p:sp>
      <p:sp>
        <p:nvSpPr>
          <p:cNvPr id="12" name="Segnaposto grafico 11"/>
          <p:cNvSpPr>
            <a:spLocks noGrp="1"/>
          </p:cNvSpPr>
          <p:nvPr>
            <p:ph type="chart" sz="quarter" idx="16"/>
          </p:nvPr>
        </p:nvSpPr>
        <p:spPr>
          <a:xfrm>
            <a:off x="7249887" y="5652532"/>
            <a:ext cx="4354124" cy="763587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chart</a:t>
            </a:r>
            <a:endParaRPr lang="it-IT"/>
          </a:p>
        </p:txBody>
      </p:sp>
      <p:sp>
        <p:nvSpPr>
          <p:cNvPr id="14" name="Segnaposto tabella 13"/>
          <p:cNvSpPr>
            <a:spLocks noGrp="1"/>
          </p:cNvSpPr>
          <p:nvPr>
            <p:ph type="tbl" sz="quarter" idx="17"/>
          </p:nvPr>
        </p:nvSpPr>
        <p:spPr>
          <a:xfrm>
            <a:off x="7250566" y="4934575"/>
            <a:ext cx="4354124" cy="55721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table</a:t>
            </a:r>
            <a:endParaRPr lang="it-IT" dirty="0"/>
          </a:p>
        </p:txBody>
      </p:sp>
      <p:sp>
        <p:nvSpPr>
          <p:cNvPr id="13" name="Segnaposto piè di pagina 2">
            <a:extLst>
              <a:ext uri="{FF2B5EF4-FFF2-40B4-BE49-F238E27FC236}">
                <a16:creationId xmlns:a16="http://schemas.microsoft.com/office/drawing/2014/main" id="{E748513A-412D-4E9B-9888-94575C00F6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25526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6717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GB" sz="800"/>
              <a:t>DD/MM/YYYY                    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KARACHAGANAK PETROLEUM OPERATING B.V</a:t>
            </a:r>
            <a:endParaRPr lang="en-GB" sz="800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8C8DB3A-E3D9-43AC-8A60-4E79B3537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59" y="219994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A2095097-7334-43A2-8418-0E8C1CA7E8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274" y="6525526"/>
            <a:ext cx="616226" cy="332474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3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47323590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gress char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/>
          <p:cNvSpPr>
            <a:spLocks noGrp="1"/>
          </p:cNvSpPr>
          <p:nvPr>
            <p:ph type="pic" sz="quarter" idx="14"/>
          </p:nvPr>
        </p:nvSpPr>
        <p:spPr>
          <a:xfrm>
            <a:off x="0" y="785257"/>
            <a:ext cx="6209955" cy="598932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1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1 w 10000"/>
              <a:gd name="connsiteY4" fmla="*/ 0 h 10000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10002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7751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10000">
                <a:moveTo>
                  <a:pt x="2" y="0"/>
                </a:moveTo>
                <a:lnTo>
                  <a:pt x="10002" y="0"/>
                </a:lnTo>
                <a:lnTo>
                  <a:pt x="7751" y="10000"/>
                </a:lnTo>
                <a:lnTo>
                  <a:pt x="2" y="10000"/>
                </a:lnTo>
                <a:cubicBezTo>
                  <a:pt x="9" y="6667"/>
                  <a:pt x="-5" y="3333"/>
                  <a:pt x="2" y="0"/>
                </a:cubicBezTo>
                <a:close/>
              </a:path>
            </a:pathLst>
          </a:custGeom>
          <a:solidFill>
            <a:srgbClr val="F3BF00">
              <a:alpha val="49804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it-IT" dirty="0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1135965" y="1138334"/>
            <a:ext cx="5333529" cy="5297529"/>
          </a:xfrm>
          <a:prstGeom prst="ellipse">
            <a:avLst/>
          </a:prstGeom>
          <a:solidFill>
            <a:srgbClr val="C6C6C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egnaposto tabella 7"/>
          <p:cNvSpPr>
            <a:spLocks noGrp="1"/>
          </p:cNvSpPr>
          <p:nvPr>
            <p:ph type="tbl" sz="quarter" idx="15"/>
          </p:nvPr>
        </p:nvSpPr>
        <p:spPr>
          <a:xfrm>
            <a:off x="6587411" y="4273984"/>
            <a:ext cx="5016599" cy="220973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table</a:t>
            </a:r>
            <a:endParaRPr lang="it-IT" dirty="0"/>
          </a:p>
        </p:txBody>
      </p:sp>
      <p:sp>
        <p:nvSpPr>
          <p:cNvPr id="12" name="Segnaposto grafico 11"/>
          <p:cNvSpPr>
            <a:spLocks noGrp="1"/>
          </p:cNvSpPr>
          <p:nvPr>
            <p:ph type="chart" sz="quarter" idx="16"/>
          </p:nvPr>
        </p:nvSpPr>
        <p:spPr>
          <a:xfrm>
            <a:off x="6587413" y="964413"/>
            <a:ext cx="5016598" cy="3237737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chart</a:t>
            </a:r>
            <a:endParaRPr lang="it-IT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3255D4A-772A-4C17-9F9A-A510F6CAF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59" y="219994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3" name="Segnaposto piè di pagina 2">
            <a:extLst>
              <a:ext uri="{FF2B5EF4-FFF2-40B4-BE49-F238E27FC236}">
                <a16:creationId xmlns:a16="http://schemas.microsoft.com/office/drawing/2014/main" id="{49336460-BB55-4E42-9976-8480BC5F64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21963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6717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GB" sz="800"/>
              <a:t>DD/MM/YYYY                    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KARACHAGANAK PETROLEUM OPERATING B.V</a:t>
            </a:r>
            <a:endParaRPr lang="en-GB" sz="800" dirty="0"/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FE85BE08-4A65-45AD-98A1-CA3A56BD5CB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274" y="6525526"/>
            <a:ext cx="616226" cy="332474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3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28675193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es with line separation and shad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testo 11"/>
          <p:cNvSpPr>
            <a:spLocks noGrp="1"/>
          </p:cNvSpPr>
          <p:nvPr>
            <p:ph type="body" sz="quarter" idx="10"/>
          </p:nvPr>
        </p:nvSpPr>
        <p:spPr>
          <a:xfrm>
            <a:off x="640799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01B1C9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Segnaposto testo 13"/>
          <p:cNvSpPr>
            <a:spLocks noGrp="1"/>
          </p:cNvSpPr>
          <p:nvPr>
            <p:ph type="body" sz="quarter" idx="11"/>
          </p:nvPr>
        </p:nvSpPr>
        <p:spPr>
          <a:xfrm>
            <a:off x="4460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2"/>
          </p:nvPr>
        </p:nvSpPr>
        <p:spPr>
          <a:xfrm>
            <a:off x="8276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chemeClr val="bg1">
                <a:lumMod val="75000"/>
              </a:schemeClr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8" name="Connettore 1 13"/>
          <p:cNvCxnSpPr/>
          <p:nvPr userDrawn="1"/>
        </p:nvCxnSpPr>
        <p:spPr>
          <a:xfrm>
            <a:off x="4070685" y="113107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1 13"/>
          <p:cNvCxnSpPr/>
          <p:nvPr userDrawn="1"/>
        </p:nvCxnSpPr>
        <p:spPr>
          <a:xfrm>
            <a:off x="7880684" y="113040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egnaposto testo 31"/>
          <p:cNvSpPr>
            <a:spLocks noGrp="1"/>
          </p:cNvSpPr>
          <p:nvPr>
            <p:ph type="body" sz="quarter" idx="16"/>
          </p:nvPr>
        </p:nvSpPr>
        <p:spPr>
          <a:xfrm>
            <a:off x="1389600" y="5407200"/>
            <a:ext cx="9486000" cy="7308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>
            <a:normAutofit/>
          </a:bodyPr>
          <a:lstStyle>
            <a:lvl1pPr algn="ctr">
              <a:buNone/>
              <a:defRPr sz="1600" b="1" i="0" baseline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Segnaposto testo 19"/>
          <p:cNvSpPr>
            <a:spLocks noGrp="1"/>
          </p:cNvSpPr>
          <p:nvPr>
            <p:ph type="body" sz="quarter" idx="18" hasCustomPrompt="1"/>
          </p:nvPr>
        </p:nvSpPr>
        <p:spPr>
          <a:xfrm>
            <a:off x="4460400" y="2242232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22" name="Segnaposto testo 19"/>
          <p:cNvSpPr>
            <a:spLocks noGrp="1"/>
          </p:cNvSpPr>
          <p:nvPr>
            <p:ph type="body" sz="quarter" idx="19" hasCustomPrompt="1"/>
          </p:nvPr>
        </p:nvSpPr>
        <p:spPr>
          <a:xfrm>
            <a:off x="8276400" y="2264004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24" name="Segnaposto testo 19">
            <a:extLst>
              <a:ext uri="{FF2B5EF4-FFF2-40B4-BE49-F238E27FC236}">
                <a16:creationId xmlns:a16="http://schemas.microsoft.com/office/drawing/2014/main" id="{D8D26CF4-0A71-4D1B-9C81-76201D4D0A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80849" y="2243015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27CED5A-C9EB-4451-B68E-84AE1DDA5F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59" y="219994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9" name="Segnaposto piè di pagina 2">
            <a:extLst>
              <a:ext uri="{FF2B5EF4-FFF2-40B4-BE49-F238E27FC236}">
                <a16:creationId xmlns:a16="http://schemas.microsoft.com/office/drawing/2014/main" id="{BD13E58B-166D-4065-A238-7C3E5D6952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21963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6717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GB" sz="800"/>
              <a:t>DD/MM/YYYY                    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KARACHAGANAK PETROLEUM OPERATING B.V</a:t>
            </a:r>
            <a:endParaRPr lang="en-GB" sz="800" dirty="0"/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839EBBF8-2B5A-4F20-B082-4B9A7BFCB89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04274" y="6525526"/>
            <a:ext cx="616226" cy="332474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3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1493334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7">
            <a:extLst>
              <a:ext uri="{FF2B5EF4-FFF2-40B4-BE49-F238E27FC236}">
                <a16:creationId xmlns:a16="http://schemas.microsoft.com/office/drawing/2014/main" id="{1AAD491E-1EA0-47EE-9B38-C36879304DBF}"/>
              </a:ext>
            </a:extLst>
          </p:cNvPr>
          <p:cNvSpPr/>
          <p:nvPr userDrawn="1"/>
        </p:nvSpPr>
        <p:spPr>
          <a:xfrm>
            <a:off x="0" y="2362200"/>
            <a:ext cx="12191999" cy="2133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그림 개체 틀 6">
            <a:extLst>
              <a:ext uri="{FF2B5EF4-FFF2-40B4-BE49-F238E27FC236}">
                <a16:creationId xmlns:a16="http://schemas.microsoft.com/office/drawing/2014/main" id="{ADA58810-BEDD-4D33-B6DF-414C92F116C0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534029" y="2"/>
            <a:ext cx="6657973" cy="6857999"/>
          </a:xfrm>
          <a:custGeom>
            <a:avLst/>
            <a:gdLst>
              <a:gd name="connsiteX0" fmla="*/ 2362199 w 6657973"/>
              <a:gd name="connsiteY0" fmla="*/ 0 h 6857999"/>
              <a:gd name="connsiteX1" fmla="*/ 6657973 w 6657973"/>
              <a:gd name="connsiteY1" fmla="*/ 0 h 6857999"/>
              <a:gd name="connsiteX2" fmla="*/ 6657973 w 6657973"/>
              <a:gd name="connsiteY2" fmla="*/ 3630706 h 6857999"/>
              <a:gd name="connsiteX3" fmla="*/ 6657972 w 6657973"/>
              <a:gd name="connsiteY3" fmla="*/ 6857999 h 6857999"/>
              <a:gd name="connsiteX4" fmla="*/ 2362198 w 6657973"/>
              <a:gd name="connsiteY4" fmla="*/ 6857999 h 6857999"/>
              <a:gd name="connsiteX5" fmla="*/ 2362198 w 6657973"/>
              <a:gd name="connsiteY5" fmla="*/ 6857999 h 6857999"/>
              <a:gd name="connsiteX6" fmla="*/ 0 w 6657973"/>
              <a:gd name="connsiteY6" fmla="*/ 343853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57973" h="6857999">
                <a:moveTo>
                  <a:pt x="2362199" y="0"/>
                </a:moveTo>
                <a:lnTo>
                  <a:pt x="6657973" y="0"/>
                </a:lnTo>
                <a:lnTo>
                  <a:pt x="6657973" y="3630706"/>
                </a:lnTo>
                <a:lnTo>
                  <a:pt x="6657972" y="6857999"/>
                </a:lnTo>
                <a:lnTo>
                  <a:pt x="2362198" y="6857999"/>
                </a:lnTo>
                <a:lnTo>
                  <a:pt x="2362198" y="6857999"/>
                </a:lnTo>
                <a:lnTo>
                  <a:pt x="0" y="34385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5" name="Segnaposto piè di pagina 2">
            <a:extLst>
              <a:ext uri="{FF2B5EF4-FFF2-40B4-BE49-F238E27FC236}">
                <a16:creationId xmlns:a16="http://schemas.microsoft.com/office/drawing/2014/main" id="{6EE1C156-9CAD-49C8-9718-DB3F244FFC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21963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6717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GB" sz="800"/>
              <a:t>DD/MM/YYYY                    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KARACHAGANAK PETROLEUM OPERATING B.V</a:t>
            </a:r>
            <a:endParaRPr lang="en-GB" sz="800" dirty="0"/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BF1B9FF1-FADA-4A25-9181-54B53077499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274" y="6525526"/>
            <a:ext cx="616226" cy="332474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3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44994370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- 5 lev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8EB68E-E012-4BA0-8FC2-4838E88C4766}" type="slidenum">
              <a:rPr kumimoji="0" lang="it-IT" sz="1800" b="0" i="0" u="none" strike="noStrike" kern="1200" cap="none" spc="0" normalizeH="0" baseline="0" noProof="0" smtClean="0">
                <a:ln>
                  <a:noFill/>
                </a:ln>
                <a:solidFill>
                  <a:srgbClr val="00ABC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00ABC5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210" y="6430600"/>
            <a:ext cx="12015457" cy="33247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76717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vent@DD MMM YYYY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76717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" name="Segnaposto contenuto 2"/>
          <p:cNvSpPr>
            <a:spLocks noGrp="1"/>
          </p:cNvSpPr>
          <p:nvPr>
            <p:ph sz="quarter" idx="10" hasCustomPrompt="1"/>
          </p:nvPr>
        </p:nvSpPr>
        <p:spPr>
          <a:xfrm>
            <a:off x="641246" y="1602000"/>
            <a:ext cx="10824534" cy="4323600"/>
          </a:xfrm>
        </p:spPr>
        <p:txBody>
          <a:bodyPr/>
          <a:lstStyle>
            <a:lvl1pPr marL="342891" indent="-342891">
              <a:buFont typeface="Wingdings" panose="05000000000000000000" pitchFamily="2" charset="2"/>
              <a:buChar char="§"/>
              <a:defRPr/>
            </a:lvl1pPr>
            <a:lvl2pPr>
              <a:buClr>
                <a:srgbClr val="01B1C9"/>
              </a:buClr>
              <a:defRPr/>
            </a:lvl2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63598174"/>
      </p:ext>
    </p:extLst>
  </p:cSld>
  <p:clrMapOvr>
    <a:masterClrMapping/>
  </p:clrMapOvr>
  <p:transition spd="slow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D951BEC-6D24-4D80-BDEE-5778CEABCB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4344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t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877FD6-306E-4787-AC20-4F0061D7C2B5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F9E27A2-87EC-45AA-902D-31AA918DD4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7512" y="6530073"/>
            <a:ext cx="80710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02A44DB-F395-4A25-91A5-3D41C0F9E3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75609" y="64552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Content Placeholder 7">
            <a:extLst>
              <a:ext uri="{FF2B5EF4-FFF2-40B4-BE49-F238E27FC236}">
                <a16:creationId xmlns:a16="http://schemas.microsoft.com/office/drawing/2014/main" id="{8264A752-70D9-434A-94B7-FF2C86E32A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76136EA-776E-4BBF-B0C3-A2681D1066F7}"/>
              </a:ext>
            </a:extLst>
          </p:cNvPr>
          <p:cNvSpPr/>
          <p:nvPr userDrawn="1"/>
        </p:nvSpPr>
        <p:spPr>
          <a:xfrm>
            <a:off x="-1" y="4244083"/>
            <a:ext cx="9757038" cy="1536700"/>
          </a:xfrm>
          <a:prstGeom prst="rect">
            <a:avLst/>
          </a:prstGeom>
          <a:solidFill>
            <a:srgbClr val="00ABC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0FE704E-4644-43BF-B6A7-320FC061E47B}"/>
              </a:ext>
            </a:extLst>
          </p:cNvPr>
          <p:cNvSpPr/>
          <p:nvPr userDrawn="1"/>
        </p:nvSpPr>
        <p:spPr>
          <a:xfrm>
            <a:off x="-1" y="5765296"/>
            <a:ext cx="8089643" cy="126853"/>
          </a:xfrm>
          <a:prstGeom prst="rect">
            <a:avLst/>
          </a:prstGeom>
          <a:solidFill>
            <a:srgbClr val="FBD741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25D9C2-03A7-4921-A754-89324102A227}"/>
              </a:ext>
            </a:extLst>
          </p:cNvPr>
          <p:cNvSpPr/>
          <p:nvPr userDrawn="1"/>
        </p:nvSpPr>
        <p:spPr>
          <a:xfrm>
            <a:off x="613037" y="5726867"/>
            <a:ext cx="215475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/>
              <a:t>© 2021 Karachaganak Petroleum Operating </a:t>
            </a:r>
            <a:r>
              <a:rPr lang="en-GB" sz="800" dirty="0" err="1"/>
              <a:t>b.v</a:t>
            </a:r>
            <a:endParaRPr lang="en-GB" sz="800" dirty="0"/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E10B9D07-1445-4D84-B94A-B4A83DA4509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28599" y="4731905"/>
            <a:ext cx="8848726" cy="9521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pCom/ConCom/JOC and/or any other external/internal meetings/forums/sessions </a:t>
            </a:r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07676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- 2 blocks seperate titles AND shaded NO lin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715992" y="2113472"/>
            <a:ext cx="5167223" cy="40761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n-lt"/>
              </a:defRPr>
            </a:lvl1pPr>
            <a:lvl2pPr>
              <a:buClr>
                <a:srgbClr val="01B1C9"/>
              </a:buClr>
              <a:defRPr sz="20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 marL="2057349" indent="-228594">
              <a:buFont typeface="Arial" panose="020B0604020202020204" pitchFamily="34" charset="0"/>
              <a:buChar char="√"/>
              <a:defRPr sz="16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206400" y="2113472"/>
            <a:ext cx="5259380" cy="4076191"/>
          </a:xfrm>
          <a:prstGeom prst="rect">
            <a:avLst/>
          </a:prstGeom>
        </p:spPr>
        <p:txBody>
          <a:bodyPr/>
          <a:lstStyle>
            <a:lvl2pPr>
              <a:buClr>
                <a:srgbClr val="01B1C9"/>
              </a:buClr>
              <a:defRPr/>
            </a:lvl2pPr>
            <a:lvl5pPr marL="2057349" indent="-228594">
              <a:buFont typeface="Arial" panose="020B0604020202020204" pitchFamily="34" charset="0"/>
              <a:buChar char="√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3"/>
          </p:nvPr>
        </p:nvSpPr>
        <p:spPr>
          <a:xfrm>
            <a:off x="1289095" y="1408026"/>
            <a:ext cx="4021016" cy="369332"/>
          </a:xfrm>
          <a:prstGeom prst="rect">
            <a:avLst/>
          </a:prstGeom>
          <a:solidFill>
            <a:schemeClr val="bg1"/>
          </a:solidFill>
          <a:effectLst>
            <a:outerShdw dist="101600" dir="8100000" algn="tr" rotWithShape="0">
              <a:srgbClr val="FFD500"/>
            </a:outerShdw>
          </a:effectLst>
        </p:spPr>
        <p:txBody>
          <a:bodyPr anchor="b" anchorCtr="1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egnaposto testo 4"/>
          <p:cNvSpPr>
            <a:spLocks noGrp="1"/>
          </p:cNvSpPr>
          <p:nvPr>
            <p:ph type="body" sz="quarter" idx="14"/>
          </p:nvPr>
        </p:nvSpPr>
        <p:spPr>
          <a:xfrm>
            <a:off x="6778892" y="1408026"/>
            <a:ext cx="4021016" cy="369332"/>
          </a:xfrm>
          <a:prstGeom prst="rect">
            <a:avLst/>
          </a:prstGeom>
          <a:solidFill>
            <a:schemeClr val="bg1"/>
          </a:solidFill>
          <a:effectLst>
            <a:outerShdw dist="101600" dir="8100000" algn="tr" rotWithShape="0">
              <a:srgbClr val="01B1C9"/>
            </a:outerShdw>
          </a:effectLst>
        </p:spPr>
        <p:txBody>
          <a:bodyPr anchor="b" anchorCtr="1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6AECEC4-CA18-4F9C-AD5A-AE47FDBBED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3" name="Segnaposto numero diapositiva 2">
            <a:extLst>
              <a:ext uri="{FF2B5EF4-FFF2-40B4-BE49-F238E27FC236}">
                <a16:creationId xmlns:a16="http://schemas.microsoft.com/office/drawing/2014/main" id="{CEF5F07D-D832-4A0B-9CCE-85A84EB4A7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449E77C6-3AC2-4EEF-9C19-353A23EF22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00004126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3F82AA-6A3C-4B7E-8611-DE58C4244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229" y="403225"/>
            <a:ext cx="4921541" cy="473075"/>
          </a:xfrm>
          <a:prstGeom prst="rect">
            <a:avLst/>
          </a:prstGeom>
        </p:spPr>
        <p:txBody>
          <a:bodyPr/>
          <a:lstStyle>
            <a:lvl1pPr algn="ctr"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8DEA17-3889-4D77-AD3E-7CA42BD25B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A0AF6-E3A1-46D2-A4E3-F374DCDE6AA2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62E90-CA0C-4467-8A15-A230BBAA45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9A4455-E56D-4A2B-AC9E-10EA0546D5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861180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855B43B8-51EA-423C-AA9B-BDFD3D5151AC}"/>
              </a:ext>
            </a:extLst>
          </p:cNvPr>
          <p:cNvSpPr/>
          <p:nvPr userDrawn="1"/>
        </p:nvSpPr>
        <p:spPr>
          <a:xfrm>
            <a:off x="0" y="3535062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728B678-13FB-4938-8058-8E21911E9D7A}"/>
              </a:ext>
            </a:extLst>
          </p:cNvPr>
          <p:cNvSpPr/>
          <p:nvPr userDrawn="1"/>
        </p:nvSpPr>
        <p:spPr>
          <a:xfrm>
            <a:off x="683568" y="4149194"/>
            <a:ext cx="770350" cy="1334334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1">
              <a:solidFill>
                <a:srgbClr val="00B5C9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91F3C88-6932-43FB-B127-883BE07E4F68}"/>
              </a:ext>
            </a:extLst>
          </p:cNvPr>
          <p:cNvSpPr/>
          <p:nvPr userDrawn="1"/>
        </p:nvSpPr>
        <p:spPr>
          <a:xfrm>
            <a:off x="0" y="-8238"/>
            <a:ext cx="12192000" cy="3543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5AC5782-9956-4A28-9090-97585E3C4EA4}"/>
              </a:ext>
            </a:extLst>
          </p:cNvPr>
          <p:cNvSpPr/>
          <p:nvPr userDrawn="1"/>
        </p:nvSpPr>
        <p:spPr>
          <a:xfrm>
            <a:off x="0" y="34290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3F1AA14-047E-49CB-B7E7-5567060E5078}"/>
              </a:ext>
            </a:extLst>
          </p:cNvPr>
          <p:cNvSpPr/>
          <p:nvPr userDrawn="1"/>
        </p:nvSpPr>
        <p:spPr>
          <a:xfrm>
            <a:off x="6096000" y="6751938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2B8C3BD-09D3-490C-8BB3-D8CC55BA09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2693" y="1367471"/>
            <a:ext cx="2098907" cy="1581570"/>
          </a:xfrm>
          <a:prstGeom prst="rect">
            <a:avLst/>
          </a:prstGeom>
        </p:spPr>
      </p:pic>
      <p:sp>
        <p:nvSpPr>
          <p:cNvPr id="21" name="Titolo 1">
            <a:extLst>
              <a:ext uri="{FF2B5EF4-FFF2-40B4-BE49-F238E27FC236}">
                <a16:creationId xmlns:a16="http://schemas.microsoft.com/office/drawing/2014/main" id="{F0BB45C6-8760-4DFF-A3EC-4E4CEFF26E0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0699" y="3268740"/>
            <a:ext cx="1276088" cy="1866057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ctr" eaLnBrk="1" hangingPunct="1">
              <a:defRPr lang="it-IT" sz="4000" b="1" kern="1200" dirty="0">
                <a:solidFill>
                  <a:srgbClr val="FFFFFF"/>
                </a:solidFill>
                <a:latin typeface="+mn-lt"/>
                <a:ea typeface="+mj-ea"/>
                <a:cs typeface="+mj-cs"/>
              </a:defRPr>
            </a:lvl1pPr>
          </a:lstStyle>
          <a:p>
            <a:pPr eaLnBrk="1" hangingPunct="1"/>
            <a:r>
              <a:rPr lang="en-US" altLang="en-US" sz="3600" b="1" dirty="0">
                <a:solidFill>
                  <a:srgbClr val="FFFFFF"/>
                </a:solidFill>
                <a:cs typeface="Arial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78590093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4F85D4-350A-4934-94C2-B0CF17F11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5ACA7A-E45D-454A-AFEE-88D14AAC514F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805AC1-3FF1-4AF9-8803-3CBBBFF911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EB158-BBFC-43BB-8377-A5774A8AE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icture Placeholder 20">
            <a:extLst>
              <a:ext uri="{FF2B5EF4-FFF2-40B4-BE49-F238E27FC236}">
                <a16:creationId xmlns:a16="http://schemas.microsoft.com/office/drawing/2014/main" id="{11C1103D-CEF6-4A34-BB84-9CD9D6AF06B9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7" name="Picture Placeholder 18">
            <a:extLst>
              <a:ext uri="{FF2B5EF4-FFF2-40B4-BE49-F238E27FC236}">
                <a16:creationId xmlns:a16="http://schemas.microsoft.com/office/drawing/2014/main" id="{B10DB224-1BDC-4CBE-90F4-38C848316105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8" name="Picture Placeholder 19">
            <a:extLst>
              <a:ext uri="{FF2B5EF4-FFF2-40B4-BE49-F238E27FC236}">
                <a16:creationId xmlns:a16="http://schemas.microsoft.com/office/drawing/2014/main" id="{0451E06C-C20B-4542-80E3-B5BF078B8A87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6566827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F9FA7A-FCC0-44E8-ADF7-832DF1328D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1296" y="402794"/>
            <a:ext cx="5568950" cy="582613"/>
          </a:xfrm>
          <a:prstGeom prst="rect">
            <a:avLst/>
          </a:prstGeo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A6C748-72DD-4C78-861F-A78C0222C9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B8E457-AB31-43BD-AB15-FFD9B62AF2FC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EC9F04-8F47-4F4F-A1CD-7BA9AE005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직사각형 7">
            <a:extLst>
              <a:ext uri="{FF2B5EF4-FFF2-40B4-BE49-F238E27FC236}">
                <a16:creationId xmlns:a16="http://schemas.microsoft.com/office/drawing/2014/main" id="{8B5DE974-BFF0-4731-95F9-6EEFBA0F11BE}"/>
              </a:ext>
            </a:extLst>
          </p:cNvPr>
          <p:cNvSpPr/>
          <p:nvPr userDrawn="1"/>
        </p:nvSpPr>
        <p:spPr>
          <a:xfrm>
            <a:off x="0" y="2362200"/>
            <a:ext cx="12191999" cy="2133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그림 개체 틀 6">
            <a:extLst>
              <a:ext uri="{FF2B5EF4-FFF2-40B4-BE49-F238E27FC236}">
                <a16:creationId xmlns:a16="http://schemas.microsoft.com/office/drawing/2014/main" id="{069EA79A-7C3E-4577-896A-2E9E2230893C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534029" y="2"/>
            <a:ext cx="6657973" cy="6857999"/>
          </a:xfrm>
          <a:custGeom>
            <a:avLst/>
            <a:gdLst>
              <a:gd name="connsiteX0" fmla="*/ 2362199 w 6657973"/>
              <a:gd name="connsiteY0" fmla="*/ 0 h 6857999"/>
              <a:gd name="connsiteX1" fmla="*/ 6657973 w 6657973"/>
              <a:gd name="connsiteY1" fmla="*/ 0 h 6857999"/>
              <a:gd name="connsiteX2" fmla="*/ 6657973 w 6657973"/>
              <a:gd name="connsiteY2" fmla="*/ 3630706 h 6857999"/>
              <a:gd name="connsiteX3" fmla="*/ 6657972 w 6657973"/>
              <a:gd name="connsiteY3" fmla="*/ 6857999 h 6857999"/>
              <a:gd name="connsiteX4" fmla="*/ 2362198 w 6657973"/>
              <a:gd name="connsiteY4" fmla="*/ 6857999 h 6857999"/>
              <a:gd name="connsiteX5" fmla="*/ 2362198 w 6657973"/>
              <a:gd name="connsiteY5" fmla="*/ 6857999 h 6857999"/>
              <a:gd name="connsiteX6" fmla="*/ 0 w 6657973"/>
              <a:gd name="connsiteY6" fmla="*/ 343853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57973" h="6857999">
                <a:moveTo>
                  <a:pt x="2362199" y="0"/>
                </a:moveTo>
                <a:lnTo>
                  <a:pt x="6657973" y="0"/>
                </a:lnTo>
                <a:lnTo>
                  <a:pt x="6657973" y="3630706"/>
                </a:lnTo>
                <a:lnTo>
                  <a:pt x="6657972" y="6857999"/>
                </a:lnTo>
                <a:lnTo>
                  <a:pt x="2362198" y="6857999"/>
                </a:lnTo>
                <a:lnTo>
                  <a:pt x="2362198" y="6857999"/>
                </a:lnTo>
                <a:lnTo>
                  <a:pt x="0" y="34385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D550EE-67B9-43DA-9CFD-4C1DCE163A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745721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A241F4F-C16C-4747-B37C-642EF39ECC44}"/>
              </a:ext>
            </a:extLst>
          </p:cNvPr>
          <p:cNvSpPr/>
          <p:nvPr userDrawn="1"/>
        </p:nvSpPr>
        <p:spPr>
          <a:xfrm>
            <a:off x="0" y="3543300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AFE592-FBF3-49A2-95E7-8917B7DD4DF4}"/>
              </a:ext>
            </a:extLst>
          </p:cNvPr>
          <p:cNvSpPr/>
          <p:nvPr userDrawn="1"/>
        </p:nvSpPr>
        <p:spPr>
          <a:xfrm>
            <a:off x="6096000" y="6754812"/>
            <a:ext cx="6096000" cy="103188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AF9BB6F-1977-43D2-802F-64D37E3FB1DE}"/>
              </a:ext>
            </a:extLst>
          </p:cNvPr>
          <p:cNvSpPr/>
          <p:nvPr userDrawn="1"/>
        </p:nvSpPr>
        <p:spPr>
          <a:xfrm>
            <a:off x="0" y="0"/>
            <a:ext cx="12192000" cy="3543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1F5FAC-9DE8-4A62-BF70-AD6851D91F31}"/>
              </a:ext>
            </a:extLst>
          </p:cNvPr>
          <p:cNvSpPr txBox="1"/>
          <p:nvPr userDrawn="1"/>
        </p:nvSpPr>
        <p:spPr>
          <a:xfrm>
            <a:off x="4378777" y="2584036"/>
            <a:ext cx="455204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400" dirty="0">
                <a:solidFill>
                  <a:schemeClr val="accent1"/>
                </a:solidFill>
                <a:cs typeface="Arial" pitchFamily="34" charset="0"/>
              </a:rPr>
              <a:t>Thank You!</a:t>
            </a:r>
            <a:endParaRPr lang="ko-KR" altLang="en-US" sz="5400" dirty="0">
              <a:solidFill>
                <a:schemeClr val="accent1"/>
              </a:solidFill>
              <a:cs typeface="Arial" pitchFamily="34" charset="0"/>
            </a:endParaRPr>
          </a:p>
          <a:p>
            <a:endParaRPr lang="en-GB" sz="5400" dirty="0">
              <a:solidFill>
                <a:schemeClr val="accent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B0FD7B9-2459-4D74-A331-FD4317680EC7}"/>
              </a:ext>
            </a:extLst>
          </p:cNvPr>
          <p:cNvSpPr/>
          <p:nvPr userDrawn="1"/>
        </p:nvSpPr>
        <p:spPr>
          <a:xfrm>
            <a:off x="0" y="34417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</p:spTree>
    <p:extLst>
      <p:ext uri="{BB962C8B-B14F-4D97-AF65-F5344CB8AC3E}">
        <p14:creationId xmlns:p14="http://schemas.microsoft.com/office/powerpoint/2010/main" val="317920680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piè di pagina 2">
            <a:extLst>
              <a:ext uri="{FF2B5EF4-FFF2-40B4-BE49-F238E27FC236}">
                <a16:creationId xmlns:a16="http://schemas.microsoft.com/office/drawing/2014/main" id="{C47BF2F4-F75C-4921-AC8D-AB8937033F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21963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6717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GB" sz="800"/>
              <a:t> DD/MM/YYYY                    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KARACHAGANAK PETROLEUM OPERATING B.V</a:t>
            </a:r>
            <a:endParaRPr lang="en-GB" sz="800" dirty="0"/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765365F8-0B0F-4281-A808-D81027A1374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274" y="6525526"/>
            <a:ext cx="616226" cy="332474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3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7E05C84-CEB4-4490-9EB6-4D732264EA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7491"/>
            <a:ext cx="12192000" cy="832023"/>
          </a:xfrm>
          <a:prstGeom prst="rect">
            <a:avLst/>
          </a:prstGeom>
        </p:spPr>
        <p:txBody>
          <a:bodyPr/>
          <a:lstStyle>
            <a:lvl1pPr>
              <a:defRPr sz="3200" b="0" cap="none" spc="0">
                <a:ln w="0"/>
                <a:solidFill>
                  <a:schemeClr val="tx2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4312581"/>
      </p:ext>
    </p:extLst>
  </p:cSld>
  <p:clrMapOvr>
    <a:masterClrMapping/>
  </p:clrMapOvr>
  <p:hf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8A0D947-5931-4227-AE62-D40527E3E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8" name="Picture Placeholder 20">
            <a:extLst>
              <a:ext uri="{FF2B5EF4-FFF2-40B4-BE49-F238E27FC236}">
                <a16:creationId xmlns:a16="http://schemas.microsoft.com/office/drawing/2014/main" id="{96AD8E23-45D7-4015-82F4-4F1D08D2ECEE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8093A54E-85BE-4508-BF9A-913B28F2A189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31980FD1-C947-46A3-8D90-A079E14193C0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6C15E9EB-3445-41FE-AEDA-28F5B40B63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88395435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- 5 lev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210" y="6430600"/>
            <a:ext cx="12015457" cy="332474"/>
          </a:xfrm>
          <a:prstGeom prst="rect">
            <a:avLst/>
          </a:prstGeom>
        </p:spPr>
        <p:txBody>
          <a:bodyPr/>
          <a:lstStyle/>
          <a:p>
            <a:r>
              <a:rPr lang="it-IT"/>
              <a:t>Event@DD MMM YYYY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  <a:endParaRPr lang="it-IT" dirty="0"/>
          </a:p>
        </p:txBody>
      </p:sp>
      <p:sp>
        <p:nvSpPr>
          <p:cNvPr id="5" name="Segnaposto contenuto 2"/>
          <p:cNvSpPr>
            <a:spLocks noGrp="1"/>
          </p:cNvSpPr>
          <p:nvPr>
            <p:ph sz="quarter" idx="10" hasCustomPrompt="1"/>
          </p:nvPr>
        </p:nvSpPr>
        <p:spPr>
          <a:xfrm>
            <a:off x="641246" y="1602000"/>
            <a:ext cx="10824534" cy="4323600"/>
          </a:xfrm>
        </p:spPr>
        <p:txBody>
          <a:bodyPr/>
          <a:lstStyle>
            <a:lvl1pPr marL="342891" indent="-342891">
              <a:buFont typeface="Wingdings" panose="05000000000000000000" pitchFamily="2" charset="2"/>
              <a:buChar char="§"/>
              <a:defRPr/>
            </a:lvl1pPr>
            <a:lvl2pPr>
              <a:buClr>
                <a:srgbClr val="01B1C9"/>
              </a:buClr>
              <a:defRPr/>
            </a:lvl2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02336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76200"/>
            <a:ext cx="11120967" cy="762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09599" y="1066806"/>
            <a:ext cx="11121292" cy="464820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255332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agenda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15" name="Titolo 14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dirty="0"/>
              <a:t>AGENDA</a:t>
            </a:r>
          </a:p>
        </p:txBody>
      </p:sp>
      <p:sp>
        <p:nvSpPr>
          <p:cNvPr id="2" name="Segnaposto piè di pagina 1"/>
          <p:cNvSpPr>
            <a:spLocks noGrp="1"/>
          </p:cNvSpPr>
          <p:nvPr>
            <p:ph type="ftr" sz="quarter" idx="11"/>
          </p:nvPr>
        </p:nvSpPr>
        <p:spPr>
          <a:xfrm>
            <a:off x="7210" y="6430600"/>
            <a:ext cx="12015457" cy="332474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  <p:sp>
        <p:nvSpPr>
          <p:cNvPr id="5" name="Segnaposto contenuto 2"/>
          <p:cNvSpPr>
            <a:spLocks noGrp="1"/>
          </p:cNvSpPr>
          <p:nvPr>
            <p:ph sz="quarter" idx="12" hasCustomPrompt="1"/>
          </p:nvPr>
        </p:nvSpPr>
        <p:spPr>
          <a:xfrm>
            <a:off x="641246" y="1602000"/>
            <a:ext cx="10824534" cy="4323600"/>
          </a:xfrm>
        </p:spPr>
        <p:txBody>
          <a:bodyPr/>
          <a:lstStyle>
            <a:lvl1pPr marL="342891" indent="-342891">
              <a:buFont typeface="Wingdings" panose="05000000000000000000" pitchFamily="2" charset="2"/>
              <a:buChar char="§"/>
              <a:defRPr/>
            </a:lvl1pPr>
            <a:lvl2pPr>
              <a:buClr>
                <a:srgbClr val="01B1C9"/>
              </a:buCl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73342627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8A0D947-5931-4227-AE62-D40527E3E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8" name="Picture Placeholder 20">
            <a:extLst>
              <a:ext uri="{FF2B5EF4-FFF2-40B4-BE49-F238E27FC236}">
                <a16:creationId xmlns:a16="http://schemas.microsoft.com/office/drawing/2014/main" id="{96AD8E23-45D7-4015-82F4-4F1D08D2ECEE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8093A54E-85BE-4508-BF9A-913B28F2A189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31980FD1-C947-46A3-8D90-A079E14193C0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6C15E9EB-3445-41FE-AEDA-28F5B40B63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15349257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927119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D951BEC-6D24-4D80-BDEE-5778CEABCB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4344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t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877FD6-306E-4787-AC20-4F0061D7C2B5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F9E27A2-87EC-45AA-902D-31AA918DD4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7512" y="6530073"/>
            <a:ext cx="80710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CONFIDENTIAL                                                                                                             KARACHAGANAK PETROLEUM OPERATING B.V.</a:t>
            </a:r>
            <a:endParaRPr lang="en-GB" dirty="0"/>
          </a:p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02A44DB-F395-4A25-91A5-3D41C0F9E3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75609" y="64552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Content Placeholder 7">
            <a:extLst>
              <a:ext uri="{FF2B5EF4-FFF2-40B4-BE49-F238E27FC236}">
                <a16:creationId xmlns:a16="http://schemas.microsoft.com/office/drawing/2014/main" id="{8264A752-70D9-434A-94B7-FF2C86E32A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76136EA-776E-4BBF-B0C3-A2681D1066F7}"/>
              </a:ext>
            </a:extLst>
          </p:cNvPr>
          <p:cNvSpPr/>
          <p:nvPr userDrawn="1"/>
        </p:nvSpPr>
        <p:spPr>
          <a:xfrm>
            <a:off x="-1" y="4244083"/>
            <a:ext cx="9757038" cy="1536700"/>
          </a:xfrm>
          <a:prstGeom prst="rect">
            <a:avLst/>
          </a:prstGeom>
          <a:solidFill>
            <a:srgbClr val="00ABC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0FE704E-4644-43BF-B6A7-320FC061E47B}"/>
              </a:ext>
            </a:extLst>
          </p:cNvPr>
          <p:cNvSpPr/>
          <p:nvPr userDrawn="1"/>
        </p:nvSpPr>
        <p:spPr>
          <a:xfrm>
            <a:off x="-1" y="5765296"/>
            <a:ext cx="8089643" cy="126853"/>
          </a:xfrm>
          <a:prstGeom prst="rect">
            <a:avLst/>
          </a:prstGeom>
          <a:solidFill>
            <a:srgbClr val="FBD741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25D9C2-03A7-4921-A754-89324102A227}"/>
              </a:ext>
            </a:extLst>
          </p:cNvPr>
          <p:cNvSpPr/>
          <p:nvPr userDrawn="1"/>
        </p:nvSpPr>
        <p:spPr>
          <a:xfrm>
            <a:off x="613037" y="5726867"/>
            <a:ext cx="215475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/>
              <a:t>© 2022 Karachaganak Petroleum Operating </a:t>
            </a:r>
            <a:r>
              <a:rPr lang="en-GB" sz="800" dirty="0" err="1"/>
              <a:t>b.v</a:t>
            </a:r>
            <a:endParaRPr lang="en-GB" sz="800" dirty="0"/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E10B9D07-1445-4D84-B94A-B4A83DA4509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28599" y="4731905"/>
            <a:ext cx="8848726" cy="9521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pCom/ConCom/JOC and/or any other external/internal meetings/forums/sessions </a:t>
            </a:r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533099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3F82AA-6A3C-4B7E-8611-DE58C4244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229" y="403225"/>
            <a:ext cx="4921541" cy="473075"/>
          </a:xfrm>
          <a:prstGeom prst="rect">
            <a:avLst/>
          </a:prstGeom>
        </p:spPr>
        <p:txBody>
          <a:bodyPr/>
          <a:lstStyle>
            <a:lvl1pPr algn="ctr"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8DEA17-3889-4D77-AD3E-7CA42BD25B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A0AF6-E3A1-46D2-A4E3-F374DCDE6AA2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62E90-CA0C-4467-8A15-A230BBAA45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9A4455-E56D-4A2B-AC9E-10EA0546D5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880396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855B43B8-51EA-423C-AA9B-BDFD3D5151AC}"/>
              </a:ext>
            </a:extLst>
          </p:cNvPr>
          <p:cNvSpPr/>
          <p:nvPr userDrawn="1"/>
        </p:nvSpPr>
        <p:spPr>
          <a:xfrm>
            <a:off x="0" y="3535062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728B678-13FB-4938-8058-8E21911E9D7A}"/>
              </a:ext>
            </a:extLst>
          </p:cNvPr>
          <p:cNvSpPr/>
          <p:nvPr userDrawn="1"/>
        </p:nvSpPr>
        <p:spPr>
          <a:xfrm>
            <a:off x="683568" y="4149194"/>
            <a:ext cx="770350" cy="1334334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1">
              <a:solidFill>
                <a:srgbClr val="00B5C9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91F3C88-6932-43FB-B127-883BE07E4F68}"/>
              </a:ext>
            </a:extLst>
          </p:cNvPr>
          <p:cNvSpPr/>
          <p:nvPr userDrawn="1"/>
        </p:nvSpPr>
        <p:spPr>
          <a:xfrm>
            <a:off x="0" y="-8238"/>
            <a:ext cx="12192000" cy="3543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5AC5782-9956-4A28-9090-97585E3C4EA4}"/>
              </a:ext>
            </a:extLst>
          </p:cNvPr>
          <p:cNvSpPr/>
          <p:nvPr userDrawn="1"/>
        </p:nvSpPr>
        <p:spPr>
          <a:xfrm>
            <a:off x="0" y="34290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3F1AA14-047E-49CB-B7E7-5567060E5078}"/>
              </a:ext>
            </a:extLst>
          </p:cNvPr>
          <p:cNvSpPr/>
          <p:nvPr userDrawn="1"/>
        </p:nvSpPr>
        <p:spPr>
          <a:xfrm>
            <a:off x="6096000" y="6751938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2B8C3BD-09D3-490C-8BB3-D8CC55BA09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2693" y="1367471"/>
            <a:ext cx="2098907" cy="1581570"/>
          </a:xfrm>
          <a:prstGeom prst="rect">
            <a:avLst/>
          </a:prstGeom>
        </p:spPr>
      </p:pic>
      <p:sp>
        <p:nvSpPr>
          <p:cNvPr id="21" name="Titolo 1">
            <a:extLst>
              <a:ext uri="{FF2B5EF4-FFF2-40B4-BE49-F238E27FC236}">
                <a16:creationId xmlns:a16="http://schemas.microsoft.com/office/drawing/2014/main" id="{F0BB45C6-8760-4DFF-A3EC-4E4CEFF26E0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0699" y="3268740"/>
            <a:ext cx="1276088" cy="1866057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ctr" eaLnBrk="1" hangingPunct="1">
              <a:defRPr lang="it-IT" sz="4000" b="1" kern="1200" dirty="0">
                <a:solidFill>
                  <a:srgbClr val="FFFFFF"/>
                </a:solidFill>
                <a:latin typeface="+mn-lt"/>
                <a:ea typeface="+mj-ea"/>
                <a:cs typeface="+mj-cs"/>
              </a:defRPr>
            </a:lvl1pPr>
          </a:lstStyle>
          <a:p>
            <a:pPr eaLnBrk="1" hangingPunct="1"/>
            <a:r>
              <a:rPr lang="en-US" altLang="en-US" sz="3600" b="1" dirty="0">
                <a:solidFill>
                  <a:srgbClr val="FFFFFF"/>
                </a:solidFill>
                <a:cs typeface="Arial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18635581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4F85D4-350A-4934-94C2-B0CF17F11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5ACA7A-E45D-454A-AFEE-88D14AAC514F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805AC1-3FF1-4AF9-8803-3CBBBFF911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EB158-BBFC-43BB-8377-A5774A8AE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icture Placeholder 20">
            <a:extLst>
              <a:ext uri="{FF2B5EF4-FFF2-40B4-BE49-F238E27FC236}">
                <a16:creationId xmlns:a16="http://schemas.microsoft.com/office/drawing/2014/main" id="{11C1103D-CEF6-4A34-BB84-9CD9D6AF06B9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7" name="Picture Placeholder 18">
            <a:extLst>
              <a:ext uri="{FF2B5EF4-FFF2-40B4-BE49-F238E27FC236}">
                <a16:creationId xmlns:a16="http://schemas.microsoft.com/office/drawing/2014/main" id="{B10DB224-1BDC-4CBE-90F4-38C848316105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8" name="Picture Placeholder 19">
            <a:extLst>
              <a:ext uri="{FF2B5EF4-FFF2-40B4-BE49-F238E27FC236}">
                <a16:creationId xmlns:a16="http://schemas.microsoft.com/office/drawing/2014/main" id="{0451E06C-C20B-4542-80E3-B5BF078B8A87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5150549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F9FA7A-FCC0-44E8-ADF7-832DF1328D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1296" y="402794"/>
            <a:ext cx="5568950" cy="582613"/>
          </a:xfrm>
          <a:prstGeom prst="rect">
            <a:avLst/>
          </a:prstGeo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A6C748-72DD-4C78-861F-A78C0222C9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B8E457-AB31-43BD-AB15-FFD9B62AF2FC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EC9F04-8F47-4F4F-A1CD-7BA9AE005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직사각형 7">
            <a:extLst>
              <a:ext uri="{FF2B5EF4-FFF2-40B4-BE49-F238E27FC236}">
                <a16:creationId xmlns:a16="http://schemas.microsoft.com/office/drawing/2014/main" id="{8B5DE974-BFF0-4731-95F9-6EEFBA0F11BE}"/>
              </a:ext>
            </a:extLst>
          </p:cNvPr>
          <p:cNvSpPr/>
          <p:nvPr userDrawn="1"/>
        </p:nvSpPr>
        <p:spPr>
          <a:xfrm>
            <a:off x="0" y="2362200"/>
            <a:ext cx="12191999" cy="2133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그림 개체 틀 6">
            <a:extLst>
              <a:ext uri="{FF2B5EF4-FFF2-40B4-BE49-F238E27FC236}">
                <a16:creationId xmlns:a16="http://schemas.microsoft.com/office/drawing/2014/main" id="{069EA79A-7C3E-4577-896A-2E9E2230893C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534029" y="2"/>
            <a:ext cx="6657973" cy="6857999"/>
          </a:xfrm>
          <a:custGeom>
            <a:avLst/>
            <a:gdLst>
              <a:gd name="connsiteX0" fmla="*/ 2362199 w 6657973"/>
              <a:gd name="connsiteY0" fmla="*/ 0 h 6857999"/>
              <a:gd name="connsiteX1" fmla="*/ 6657973 w 6657973"/>
              <a:gd name="connsiteY1" fmla="*/ 0 h 6857999"/>
              <a:gd name="connsiteX2" fmla="*/ 6657973 w 6657973"/>
              <a:gd name="connsiteY2" fmla="*/ 3630706 h 6857999"/>
              <a:gd name="connsiteX3" fmla="*/ 6657972 w 6657973"/>
              <a:gd name="connsiteY3" fmla="*/ 6857999 h 6857999"/>
              <a:gd name="connsiteX4" fmla="*/ 2362198 w 6657973"/>
              <a:gd name="connsiteY4" fmla="*/ 6857999 h 6857999"/>
              <a:gd name="connsiteX5" fmla="*/ 2362198 w 6657973"/>
              <a:gd name="connsiteY5" fmla="*/ 6857999 h 6857999"/>
              <a:gd name="connsiteX6" fmla="*/ 0 w 6657973"/>
              <a:gd name="connsiteY6" fmla="*/ 343853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57973" h="6857999">
                <a:moveTo>
                  <a:pt x="2362199" y="0"/>
                </a:moveTo>
                <a:lnTo>
                  <a:pt x="6657973" y="0"/>
                </a:lnTo>
                <a:lnTo>
                  <a:pt x="6657973" y="3630706"/>
                </a:lnTo>
                <a:lnTo>
                  <a:pt x="6657972" y="6857999"/>
                </a:lnTo>
                <a:lnTo>
                  <a:pt x="2362198" y="6857999"/>
                </a:lnTo>
                <a:lnTo>
                  <a:pt x="2362198" y="6857999"/>
                </a:lnTo>
                <a:lnTo>
                  <a:pt x="0" y="34385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D550EE-67B9-43DA-9CFD-4C1DCE163A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572327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A241F4F-C16C-4747-B37C-642EF39ECC44}"/>
              </a:ext>
            </a:extLst>
          </p:cNvPr>
          <p:cNvSpPr/>
          <p:nvPr userDrawn="1"/>
        </p:nvSpPr>
        <p:spPr>
          <a:xfrm>
            <a:off x="0" y="3543300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AFE592-FBF3-49A2-95E7-8917B7DD4DF4}"/>
              </a:ext>
            </a:extLst>
          </p:cNvPr>
          <p:cNvSpPr/>
          <p:nvPr userDrawn="1"/>
        </p:nvSpPr>
        <p:spPr>
          <a:xfrm>
            <a:off x="6096000" y="6754812"/>
            <a:ext cx="6096000" cy="103188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AF9BB6F-1977-43D2-802F-64D37E3FB1DE}"/>
              </a:ext>
            </a:extLst>
          </p:cNvPr>
          <p:cNvSpPr/>
          <p:nvPr userDrawn="1"/>
        </p:nvSpPr>
        <p:spPr>
          <a:xfrm>
            <a:off x="0" y="0"/>
            <a:ext cx="12192000" cy="3543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1F5FAC-9DE8-4A62-BF70-AD6851D91F31}"/>
              </a:ext>
            </a:extLst>
          </p:cNvPr>
          <p:cNvSpPr txBox="1"/>
          <p:nvPr userDrawn="1"/>
        </p:nvSpPr>
        <p:spPr>
          <a:xfrm>
            <a:off x="4378777" y="2584036"/>
            <a:ext cx="455204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400" dirty="0">
                <a:solidFill>
                  <a:schemeClr val="accent1"/>
                </a:solidFill>
                <a:cs typeface="Arial" pitchFamily="34" charset="0"/>
              </a:rPr>
              <a:t>Thank You!</a:t>
            </a:r>
            <a:endParaRPr lang="ko-KR" altLang="en-US" sz="5400" dirty="0">
              <a:solidFill>
                <a:schemeClr val="accent1"/>
              </a:solidFill>
              <a:cs typeface="Arial" pitchFamily="34" charset="0"/>
            </a:endParaRPr>
          </a:p>
          <a:p>
            <a:endParaRPr lang="en-GB" sz="5400" dirty="0">
              <a:solidFill>
                <a:schemeClr val="accent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B0FD7B9-2459-4D74-A331-FD4317680EC7}"/>
              </a:ext>
            </a:extLst>
          </p:cNvPr>
          <p:cNvSpPr/>
          <p:nvPr userDrawn="1"/>
        </p:nvSpPr>
        <p:spPr>
          <a:xfrm>
            <a:off x="0" y="34417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</p:spTree>
    <p:extLst>
      <p:ext uri="{BB962C8B-B14F-4D97-AF65-F5344CB8AC3E}">
        <p14:creationId xmlns:p14="http://schemas.microsoft.com/office/powerpoint/2010/main" val="24248771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8A0D947-5931-4227-AE62-D40527E3E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8" name="Picture Placeholder 20">
            <a:extLst>
              <a:ext uri="{FF2B5EF4-FFF2-40B4-BE49-F238E27FC236}">
                <a16:creationId xmlns:a16="http://schemas.microsoft.com/office/drawing/2014/main" id="{96AD8E23-45D7-4015-82F4-4F1D08D2ECEE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8093A54E-85BE-4508-BF9A-913B28F2A189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31980FD1-C947-46A3-8D90-A079E14193C0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6C15E9EB-3445-41FE-AEDA-28F5B40B63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7206229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- 5 lev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210" y="6430600"/>
            <a:ext cx="12015457" cy="332474"/>
          </a:xfrm>
          <a:prstGeom prst="rect">
            <a:avLst/>
          </a:prstGeom>
        </p:spPr>
        <p:txBody>
          <a:bodyPr/>
          <a:lstStyle/>
          <a:p>
            <a:r>
              <a:rPr lang="it-IT" dirty="0"/>
              <a:t>Event@DD MMM YYYY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</a:p>
        </p:txBody>
      </p:sp>
      <p:sp>
        <p:nvSpPr>
          <p:cNvPr id="5" name="Segnaposto contenuto 2"/>
          <p:cNvSpPr>
            <a:spLocks noGrp="1"/>
          </p:cNvSpPr>
          <p:nvPr>
            <p:ph sz="quarter" idx="10" hasCustomPrompt="1"/>
          </p:nvPr>
        </p:nvSpPr>
        <p:spPr>
          <a:xfrm>
            <a:off x="641246" y="1602000"/>
            <a:ext cx="10824534" cy="4323600"/>
          </a:xfrm>
        </p:spPr>
        <p:txBody>
          <a:bodyPr/>
          <a:lstStyle>
            <a:lvl1pPr marL="342891" indent="-342891">
              <a:buFont typeface="Wingdings" panose="05000000000000000000" pitchFamily="2" charset="2"/>
              <a:buChar char="§"/>
              <a:defRPr/>
            </a:lvl1pPr>
            <a:lvl2pPr>
              <a:buClr>
                <a:srgbClr val="01B1C9"/>
              </a:buClr>
              <a:defRPr/>
            </a:lvl2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784346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D951BEC-6D24-4D80-BDEE-5778CEABCB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4344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t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877FD6-306E-4787-AC20-4F0061D7C2B5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F9E27A2-87EC-45AA-902D-31AA918DD4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7512" y="6530073"/>
            <a:ext cx="80710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02A44DB-F395-4A25-91A5-3D41C0F9E3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75609" y="64552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Picture 5"/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7742213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 userDrawn="1"/>
        </p:nvSpPr>
        <p:spPr>
          <a:xfrm>
            <a:off x="354010" y="1131591"/>
            <a:ext cx="3560767" cy="5402561"/>
          </a:xfrm>
          <a:prstGeom prst="roundRect">
            <a:avLst>
              <a:gd name="adj" fmla="val 39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/>
          </a:p>
        </p:txBody>
      </p:sp>
      <p:sp>
        <p:nvSpPr>
          <p:cNvPr id="4" name="Rounded Rectangle 3"/>
          <p:cNvSpPr/>
          <p:nvPr userDrawn="1"/>
        </p:nvSpPr>
        <p:spPr>
          <a:xfrm>
            <a:off x="531933" y="1347500"/>
            <a:ext cx="153868" cy="50152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bg1"/>
              </a:solidFill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3057177" y="1276653"/>
            <a:ext cx="685849" cy="685148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644E8BB-F13A-4AE0-889E-633DE4143787}"/>
              </a:ext>
            </a:extLst>
          </p:cNvPr>
          <p:cNvSpPr txBox="1"/>
          <p:nvPr userDrawn="1"/>
        </p:nvSpPr>
        <p:spPr>
          <a:xfrm>
            <a:off x="711704" y="1637214"/>
            <a:ext cx="223224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+mn-lt"/>
                <a:cs typeface="Arial" pitchFamily="34" charset="0"/>
              </a:rPr>
              <a:t>You can Resize without losing quality</a:t>
            </a:r>
            <a:endParaRPr lang="ko-KR" altLang="en-US" sz="1400" b="1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2CE2B8B-ED32-491A-95B2-D28904BC432C}"/>
              </a:ext>
            </a:extLst>
          </p:cNvPr>
          <p:cNvSpPr txBox="1"/>
          <p:nvPr userDrawn="1"/>
        </p:nvSpPr>
        <p:spPr>
          <a:xfrm>
            <a:off x="711704" y="2444300"/>
            <a:ext cx="2726821" cy="95410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You can Change Fill Color &amp;</a:t>
            </a:r>
          </a:p>
          <a:p>
            <a:r>
              <a:rPr lang="en-US" altLang="ko-KR" sz="14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Line Color</a:t>
            </a:r>
          </a:p>
          <a:p>
            <a:endParaRPr lang="en-US" altLang="ko-KR" sz="14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  <a:p>
            <a:endParaRPr lang="ko-KR" altLang="en-US" sz="14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711704" y="3094207"/>
            <a:ext cx="266298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ess </a:t>
            </a:r>
            <a:r>
              <a:rPr lang="en-US" b="1" dirty="0"/>
              <a:t>“Format”</a:t>
            </a:r>
          </a:p>
          <a:p>
            <a:r>
              <a:rPr lang="en-US" dirty="0"/>
              <a:t>Choose</a:t>
            </a:r>
            <a:r>
              <a:rPr lang="en-US" baseline="0" dirty="0"/>
              <a:t> color by pressing </a:t>
            </a:r>
            <a:r>
              <a:rPr lang="en-US" b="1" baseline="0" dirty="0"/>
              <a:t>“Shape Fill” or “Shape Outline”</a:t>
            </a:r>
            <a:endParaRPr lang="en-US" b="1" dirty="0"/>
          </a:p>
          <a:p>
            <a:endParaRPr lang="en-GB" dirty="0"/>
          </a:p>
        </p:txBody>
      </p:sp>
      <p:sp>
        <p:nvSpPr>
          <p:cNvPr id="10" name="Segnaposto numero diapositiva 2">
            <a:extLst>
              <a:ext uri="{FF2B5EF4-FFF2-40B4-BE49-F238E27FC236}">
                <a16:creationId xmlns:a16="http://schemas.microsoft.com/office/drawing/2014/main" id="{CAAB2A90-E6BA-4145-B704-4DDD2B1A77F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12" name="Segnaposto piè di pagina 2">
            <a:extLst>
              <a:ext uri="{FF2B5EF4-FFF2-40B4-BE49-F238E27FC236}">
                <a16:creationId xmlns:a16="http://schemas.microsoft.com/office/drawing/2014/main" id="{F48324C7-68F3-4680-985E-F9151C5867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68793778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720081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Gen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9050"/>
            <a:ext cx="12201525" cy="6877050"/>
          </a:xfrm>
          <a:prstGeom prst="rect">
            <a:avLst/>
          </a:prstGeom>
        </p:spPr>
      </p:pic>
      <p:sp>
        <p:nvSpPr>
          <p:cNvPr id="19" name="Rectangle 18"/>
          <p:cNvSpPr/>
          <p:nvPr userDrawn="1"/>
        </p:nvSpPr>
        <p:spPr>
          <a:xfrm>
            <a:off x="-1" y="4244083"/>
            <a:ext cx="9757038" cy="1536700"/>
          </a:xfrm>
          <a:prstGeom prst="rect">
            <a:avLst/>
          </a:prstGeom>
          <a:solidFill>
            <a:srgbClr val="00ABC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8" name="Titolo 1"/>
          <p:cNvSpPr>
            <a:spLocks noGrp="1"/>
          </p:cNvSpPr>
          <p:nvPr>
            <p:ph type="ctrTitle" hasCustomPrompt="1"/>
          </p:nvPr>
        </p:nvSpPr>
        <p:spPr>
          <a:xfrm>
            <a:off x="613037" y="4440031"/>
            <a:ext cx="9144000" cy="514350"/>
          </a:xfrm>
          <a:prstGeom prst="rect">
            <a:avLst/>
          </a:prstGeom>
          <a:noFill/>
        </p:spPr>
        <p:txBody>
          <a:bodyPr anchor="b">
            <a:normAutofit/>
          </a:bodyPr>
          <a:lstStyle>
            <a:lvl1pPr algn="l">
              <a:defRPr lang="it-IT" sz="3600" b="1" kern="1200" dirty="0">
                <a:solidFill>
                  <a:srgbClr val="FFFFFF"/>
                </a:solidFill>
                <a:latin typeface="Bahnschrift SemiBold"/>
                <a:ea typeface="+mj-ea"/>
                <a:cs typeface="+mj-cs"/>
              </a:defRPr>
            </a:lvl1pPr>
          </a:lstStyle>
          <a:p>
            <a:r>
              <a:rPr lang="it-IT" dirty="0"/>
              <a:t>Karachaganak Petroleum Operating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quarter" idx="10"/>
          </p:nvPr>
        </p:nvSpPr>
        <p:spPr>
          <a:xfrm>
            <a:off x="613037" y="5067375"/>
            <a:ext cx="9144000" cy="4746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800" b="0" i="0">
                <a:solidFill>
                  <a:srgbClr val="FFD500"/>
                </a:solidFill>
              </a:defRPr>
            </a:lvl1pPr>
            <a:lvl2pPr marL="457188" indent="0">
              <a:buFontTx/>
              <a:buNone/>
              <a:defRPr sz="2000" b="1" i="0"/>
            </a:lvl2pPr>
            <a:lvl3pPr marL="914377" indent="0">
              <a:buFontTx/>
              <a:buNone/>
              <a:defRPr sz="2000" b="1" i="0"/>
            </a:lvl3pPr>
            <a:lvl4pPr marL="1371566" indent="0">
              <a:buFontTx/>
              <a:buNone/>
              <a:defRPr sz="2000" b="1" i="0"/>
            </a:lvl4pPr>
            <a:lvl5pPr marL="1828755" indent="0">
              <a:buFontTx/>
              <a:buNone/>
              <a:defRPr sz="2000" b="1" i="0"/>
            </a:lvl5pPr>
          </a:lstStyle>
          <a:p>
            <a:pPr lvl="0"/>
            <a:r>
              <a:rPr lang="it-IT" dirty="0"/>
              <a:t>Modifica gli stili del testo dello schema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-1" y="5755772"/>
            <a:ext cx="8089643" cy="126852"/>
          </a:xfrm>
          <a:prstGeom prst="rect">
            <a:avLst/>
          </a:prstGeom>
          <a:solidFill>
            <a:srgbClr val="FBD741">
              <a:alpha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22" name="Sottotitolo 2"/>
          <p:cNvSpPr>
            <a:spLocks noGrp="1"/>
          </p:cNvSpPr>
          <p:nvPr>
            <p:ph type="subTitle" idx="1"/>
          </p:nvPr>
        </p:nvSpPr>
        <p:spPr>
          <a:xfrm>
            <a:off x="613037" y="6130895"/>
            <a:ext cx="9144000" cy="5454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FFD5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dirty="0"/>
              <a:t>Fare clic per modificare lo stile del sottotitolo dello schema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8227298" y="5480963"/>
            <a:ext cx="15756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dirty="0">
                <a:solidFill>
                  <a:schemeClr val="bg1"/>
                </a:solidFill>
              </a:rPr>
              <a:t>CONFIDENTIAL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613037" y="5707817"/>
            <a:ext cx="215475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/>
              <a:t>© 2020 Karachaganak Petroleum Operating </a:t>
            </a:r>
            <a:r>
              <a:rPr lang="en-GB" sz="800" dirty="0" err="1"/>
              <a:t>b.v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77390511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OpC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9050"/>
            <a:ext cx="12201525" cy="6877050"/>
          </a:xfrm>
          <a:prstGeom prst="rect">
            <a:avLst/>
          </a:prstGeom>
        </p:spPr>
      </p:pic>
      <p:sp>
        <p:nvSpPr>
          <p:cNvPr id="19" name="Rectangle 18"/>
          <p:cNvSpPr/>
          <p:nvPr userDrawn="1"/>
        </p:nvSpPr>
        <p:spPr>
          <a:xfrm>
            <a:off x="-1" y="4244083"/>
            <a:ext cx="9757038" cy="1536700"/>
          </a:xfrm>
          <a:prstGeom prst="rect">
            <a:avLst/>
          </a:prstGeom>
          <a:solidFill>
            <a:srgbClr val="00ABC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8" name="Titolo 1"/>
          <p:cNvSpPr>
            <a:spLocks noGrp="1"/>
          </p:cNvSpPr>
          <p:nvPr>
            <p:ph type="ctrTitle" hasCustomPrompt="1"/>
          </p:nvPr>
        </p:nvSpPr>
        <p:spPr>
          <a:xfrm>
            <a:off x="613037" y="4440031"/>
            <a:ext cx="9144000" cy="514350"/>
          </a:xfrm>
          <a:prstGeom prst="rect">
            <a:avLst/>
          </a:prstGeom>
          <a:noFill/>
        </p:spPr>
        <p:txBody>
          <a:bodyPr anchor="b">
            <a:normAutofit/>
          </a:bodyPr>
          <a:lstStyle>
            <a:lvl1pPr algn="l">
              <a:defRPr lang="it-IT" sz="3600" b="1" kern="1200" dirty="0">
                <a:solidFill>
                  <a:srgbClr val="FFFFFF"/>
                </a:solidFill>
                <a:latin typeface="Bahnschrift SemiBold"/>
                <a:ea typeface="+mj-ea"/>
                <a:cs typeface="+mj-cs"/>
              </a:defRPr>
            </a:lvl1pPr>
          </a:lstStyle>
          <a:p>
            <a:r>
              <a:rPr lang="it-IT" dirty="0"/>
              <a:t>Karachaganak Petroleum Operating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quarter" idx="10" hasCustomPrompt="1"/>
          </p:nvPr>
        </p:nvSpPr>
        <p:spPr>
          <a:xfrm>
            <a:off x="613037" y="5067375"/>
            <a:ext cx="9144000" cy="4746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800" b="0" i="0">
                <a:solidFill>
                  <a:srgbClr val="FFD500"/>
                </a:solidFill>
              </a:defRPr>
            </a:lvl1pPr>
            <a:lvl2pPr marL="457188" indent="0">
              <a:buFontTx/>
              <a:buNone/>
              <a:defRPr sz="2000" b="1" i="0"/>
            </a:lvl2pPr>
            <a:lvl3pPr marL="914377" indent="0">
              <a:buFontTx/>
              <a:buNone/>
              <a:defRPr sz="2000" b="1" i="0"/>
            </a:lvl3pPr>
            <a:lvl4pPr marL="1371566" indent="0">
              <a:buFontTx/>
              <a:buNone/>
              <a:defRPr sz="2000" b="1" i="0"/>
            </a:lvl4pPr>
            <a:lvl5pPr marL="1828755" indent="0">
              <a:buFontTx/>
              <a:buNone/>
              <a:defRPr sz="2000" b="1" i="0"/>
            </a:lvl5pPr>
          </a:lstStyle>
          <a:p>
            <a:pPr lvl="0"/>
            <a:r>
              <a:rPr lang="it-IT" dirty="0"/>
              <a:t>OpCom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-1" y="5765297"/>
            <a:ext cx="8089643" cy="84998"/>
          </a:xfrm>
          <a:prstGeom prst="rect">
            <a:avLst/>
          </a:prstGeom>
          <a:solidFill>
            <a:srgbClr val="FBD741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8227298" y="5480963"/>
            <a:ext cx="15756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dirty="0">
                <a:solidFill>
                  <a:schemeClr val="bg1"/>
                </a:solidFill>
              </a:rPr>
              <a:t>CONFIDENTIAL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13037" y="5707817"/>
            <a:ext cx="215475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/>
              <a:t>© 2020 Karachaganak Petroleum Operating </a:t>
            </a:r>
            <a:r>
              <a:rPr lang="en-GB" sz="800" dirty="0" err="1"/>
              <a:t>b.v</a:t>
            </a:r>
            <a:endParaRPr lang="en-GB" sz="800" dirty="0"/>
          </a:p>
        </p:txBody>
      </p:sp>
      <p:sp>
        <p:nvSpPr>
          <p:cNvPr id="11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613037" y="6130895"/>
            <a:ext cx="9144000" cy="5454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FFD5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dirty="0"/>
              <a:t>Location, DD MMM YYYY</a:t>
            </a:r>
          </a:p>
        </p:txBody>
      </p:sp>
    </p:spTree>
    <p:extLst>
      <p:ext uri="{BB962C8B-B14F-4D97-AF65-F5344CB8AC3E}">
        <p14:creationId xmlns:p14="http://schemas.microsoft.com/office/powerpoint/2010/main" val="25864849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ConCom_J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9" name="Rectangle 18"/>
          <p:cNvSpPr/>
          <p:nvPr userDrawn="1"/>
        </p:nvSpPr>
        <p:spPr>
          <a:xfrm>
            <a:off x="-1" y="4244083"/>
            <a:ext cx="9757038" cy="1536700"/>
          </a:xfrm>
          <a:prstGeom prst="rect">
            <a:avLst/>
          </a:prstGeom>
          <a:solidFill>
            <a:srgbClr val="00ABC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8" name="Titolo 1"/>
          <p:cNvSpPr>
            <a:spLocks noGrp="1"/>
          </p:cNvSpPr>
          <p:nvPr>
            <p:ph type="ctrTitle" hasCustomPrompt="1"/>
          </p:nvPr>
        </p:nvSpPr>
        <p:spPr>
          <a:xfrm>
            <a:off x="555887" y="4448175"/>
            <a:ext cx="9144000" cy="506206"/>
          </a:xfrm>
          <a:prstGeom prst="rect">
            <a:avLst/>
          </a:prstGeom>
          <a:noFill/>
        </p:spPr>
        <p:txBody>
          <a:bodyPr anchor="b">
            <a:normAutofit/>
          </a:bodyPr>
          <a:lstStyle>
            <a:lvl1pPr algn="l" eaLnBrk="1" hangingPunct="1">
              <a:defRPr lang="it-IT" sz="3600" b="1" kern="120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eaLnBrk="1" hangingPunct="1"/>
            <a:r>
              <a:rPr lang="en-US" altLang="en-US" sz="3600" b="1" dirty="0">
                <a:solidFill>
                  <a:srgbClr val="FFFFFF"/>
                </a:solidFill>
                <a:cs typeface="Arial" charset="0"/>
              </a:rPr>
              <a:t>JOINT OPERATING COMMITTEE MEETING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quarter" idx="10" hasCustomPrompt="1"/>
          </p:nvPr>
        </p:nvSpPr>
        <p:spPr>
          <a:xfrm>
            <a:off x="565412" y="5067375"/>
            <a:ext cx="9144000" cy="4746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800" b="0" i="0" baseline="0">
                <a:solidFill>
                  <a:srgbClr val="FFD500"/>
                </a:solidFill>
              </a:defRPr>
            </a:lvl1pPr>
            <a:lvl2pPr marL="457188" indent="0">
              <a:buFontTx/>
              <a:buNone/>
              <a:defRPr sz="2000" b="1" i="0"/>
            </a:lvl2pPr>
            <a:lvl3pPr marL="914377" indent="0">
              <a:buFontTx/>
              <a:buNone/>
              <a:defRPr sz="2000" b="1" i="0"/>
            </a:lvl3pPr>
            <a:lvl4pPr marL="1371566" indent="0">
              <a:buFontTx/>
              <a:buNone/>
              <a:defRPr sz="2000" b="1" i="0"/>
            </a:lvl4pPr>
            <a:lvl5pPr marL="1828755" indent="0">
              <a:buFontTx/>
              <a:buNone/>
              <a:defRPr sz="2000" b="1" i="0"/>
            </a:lvl5pPr>
          </a:lstStyle>
          <a:p>
            <a:pPr lvl="0"/>
            <a:r>
              <a:rPr lang="it-IT" dirty="0"/>
              <a:t>ConCom or JOC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-1" y="5765296"/>
            <a:ext cx="8089643" cy="126853"/>
          </a:xfrm>
          <a:prstGeom prst="rect">
            <a:avLst/>
          </a:prstGeom>
          <a:solidFill>
            <a:srgbClr val="FBD741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22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613037" y="6130895"/>
            <a:ext cx="9144000" cy="5454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FFFF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dirty="0"/>
              <a:t>Location, DD MMM YYYY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613037" y="5726867"/>
            <a:ext cx="215475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/>
              <a:t>© 2020 Karachaganak Petroleum Operating </a:t>
            </a:r>
            <a:r>
              <a:rPr lang="en-GB" sz="800" dirty="0" err="1"/>
              <a:t>b.v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27695980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gener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9050"/>
            <a:ext cx="12192000" cy="6877050"/>
          </a:xfrm>
          <a:prstGeom prst="rect">
            <a:avLst/>
          </a:prstGeom>
        </p:spPr>
      </p:pic>
      <p:sp>
        <p:nvSpPr>
          <p:cNvPr id="19" name="Rectangle 18"/>
          <p:cNvSpPr/>
          <p:nvPr userDrawn="1"/>
        </p:nvSpPr>
        <p:spPr>
          <a:xfrm>
            <a:off x="-1" y="4244083"/>
            <a:ext cx="9757038" cy="1536700"/>
          </a:xfrm>
          <a:prstGeom prst="rect">
            <a:avLst/>
          </a:prstGeom>
          <a:solidFill>
            <a:srgbClr val="00ABC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8" name="Titolo 1"/>
          <p:cNvSpPr>
            <a:spLocks noGrp="1"/>
          </p:cNvSpPr>
          <p:nvPr>
            <p:ph type="ctrTitle" hasCustomPrompt="1"/>
          </p:nvPr>
        </p:nvSpPr>
        <p:spPr>
          <a:xfrm>
            <a:off x="613037" y="4440031"/>
            <a:ext cx="9144000" cy="514350"/>
          </a:xfrm>
          <a:prstGeom prst="rect">
            <a:avLst/>
          </a:prstGeom>
          <a:noFill/>
        </p:spPr>
        <p:txBody>
          <a:bodyPr anchor="b">
            <a:normAutofit/>
          </a:bodyPr>
          <a:lstStyle>
            <a:lvl1pPr algn="l">
              <a:defRPr lang="it-IT" sz="3600" b="1" kern="1200" dirty="0">
                <a:solidFill>
                  <a:srgbClr val="FFFFFF"/>
                </a:solidFill>
                <a:latin typeface="Bahnschrift SemiBold"/>
                <a:ea typeface="+mj-ea"/>
                <a:cs typeface="+mj-cs"/>
              </a:defRPr>
            </a:lvl1pPr>
          </a:lstStyle>
          <a:p>
            <a:r>
              <a:rPr lang="it-IT" dirty="0"/>
              <a:t>Karachaganak Petroleum Operating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quarter" idx="10" hasCustomPrompt="1"/>
          </p:nvPr>
        </p:nvSpPr>
        <p:spPr>
          <a:xfrm>
            <a:off x="613037" y="5067375"/>
            <a:ext cx="9144000" cy="4746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800" b="0" i="0" baseline="0">
                <a:solidFill>
                  <a:srgbClr val="FFD500"/>
                </a:solidFill>
              </a:defRPr>
            </a:lvl1pPr>
            <a:lvl2pPr marL="457188" indent="0">
              <a:buFontTx/>
              <a:buNone/>
              <a:defRPr sz="2000" b="1" i="0"/>
            </a:lvl2pPr>
            <a:lvl3pPr marL="914377" indent="0">
              <a:buFontTx/>
              <a:buNone/>
              <a:defRPr sz="2000" b="1" i="0"/>
            </a:lvl3pPr>
            <a:lvl4pPr marL="1371566" indent="0">
              <a:buFontTx/>
              <a:buNone/>
              <a:defRPr sz="2000" b="1" i="0"/>
            </a:lvl4pPr>
            <a:lvl5pPr marL="1828755" indent="0">
              <a:buFontTx/>
              <a:buNone/>
              <a:defRPr sz="2000" b="1" i="0"/>
            </a:lvl5pPr>
          </a:lstStyle>
          <a:p>
            <a:pPr lvl="0"/>
            <a:r>
              <a:rPr lang="it-IT" dirty="0"/>
              <a:t>Event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-1" y="5765297"/>
            <a:ext cx="8089643" cy="84998"/>
          </a:xfrm>
          <a:prstGeom prst="rect">
            <a:avLst/>
          </a:prstGeom>
          <a:solidFill>
            <a:srgbClr val="FBD741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22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613037" y="6130895"/>
            <a:ext cx="9144000" cy="5454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dirty="0"/>
              <a:t>Location, DD MMM YYYY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8227298" y="5480963"/>
            <a:ext cx="15756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dirty="0">
                <a:solidFill>
                  <a:schemeClr val="bg1"/>
                </a:solidFill>
              </a:rPr>
              <a:t>CONFIDENTIAL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613037" y="5707817"/>
            <a:ext cx="215475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/>
              <a:t>© 2020 Karachaganak Petroleum Operating </a:t>
            </a:r>
            <a:r>
              <a:rPr lang="en-GB" sz="800" dirty="0" err="1"/>
              <a:t>b.v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75791825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OpCo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78"/>
          <a:stretch/>
        </p:blipFill>
        <p:spPr>
          <a:xfrm>
            <a:off x="-1" y="-352426"/>
            <a:ext cx="12211051" cy="7210426"/>
          </a:xfrm>
          <a:prstGeom prst="rect">
            <a:avLst/>
          </a:prstGeom>
        </p:spPr>
      </p:pic>
      <p:sp>
        <p:nvSpPr>
          <p:cNvPr id="19" name="Rectangle 18"/>
          <p:cNvSpPr/>
          <p:nvPr userDrawn="1"/>
        </p:nvSpPr>
        <p:spPr>
          <a:xfrm>
            <a:off x="-1" y="4244083"/>
            <a:ext cx="9757038" cy="1536700"/>
          </a:xfrm>
          <a:prstGeom prst="rect">
            <a:avLst/>
          </a:prstGeom>
          <a:solidFill>
            <a:srgbClr val="00ABC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8" name="Titolo 1"/>
          <p:cNvSpPr>
            <a:spLocks noGrp="1"/>
          </p:cNvSpPr>
          <p:nvPr>
            <p:ph type="ctrTitle" hasCustomPrompt="1"/>
          </p:nvPr>
        </p:nvSpPr>
        <p:spPr>
          <a:xfrm>
            <a:off x="613037" y="4440031"/>
            <a:ext cx="9144000" cy="514350"/>
          </a:xfrm>
          <a:prstGeom prst="rect">
            <a:avLst/>
          </a:prstGeom>
          <a:noFill/>
        </p:spPr>
        <p:txBody>
          <a:bodyPr anchor="b">
            <a:normAutofit/>
          </a:bodyPr>
          <a:lstStyle>
            <a:lvl1pPr algn="l">
              <a:defRPr lang="it-IT" sz="3600" b="1" kern="1200" dirty="0">
                <a:solidFill>
                  <a:srgbClr val="FFFFFF"/>
                </a:solidFill>
                <a:latin typeface="Bahnschrift SemiBold"/>
                <a:ea typeface="+mj-ea"/>
                <a:cs typeface="+mj-cs"/>
              </a:defRPr>
            </a:lvl1pPr>
          </a:lstStyle>
          <a:p>
            <a:r>
              <a:rPr lang="it-IT" dirty="0"/>
              <a:t>Karachaganak Petroleum Operating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quarter" idx="10" hasCustomPrompt="1"/>
          </p:nvPr>
        </p:nvSpPr>
        <p:spPr>
          <a:xfrm>
            <a:off x="613037" y="5067375"/>
            <a:ext cx="9144000" cy="4746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800" b="0" i="0" baseline="0">
                <a:solidFill>
                  <a:srgbClr val="FFD500"/>
                </a:solidFill>
              </a:defRPr>
            </a:lvl1pPr>
            <a:lvl2pPr marL="457188" indent="0">
              <a:buFontTx/>
              <a:buNone/>
              <a:defRPr sz="2000" b="1" i="0"/>
            </a:lvl2pPr>
            <a:lvl3pPr marL="914377" indent="0">
              <a:buFontTx/>
              <a:buNone/>
              <a:defRPr sz="2000" b="1" i="0"/>
            </a:lvl3pPr>
            <a:lvl4pPr marL="1371566" indent="0">
              <a:buFontTx/>
              <a:buNone/>
              <a:defRPr sz="2000" b="1" i="0"/>
            </a:lvl4pPr>
            <a:lvl5pPr marL="1828755" indent="0">
              <a:buFontTx/>
              <a:buNone/>
              <a:defRPr sz="2000" b="1" i="0"/>
            </a:lvl5pPr>
          </a:lstStyle>
          <a:p>
            <a:pPr lvl="0"/>
            <a:r>
              <a:rPr lang="it-IT" dirty="0"/>
              <a:t>OpCom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-1" y="5765297"/>
            <a:ext cx="8089643" cy="84998"/>
          </a:xfrm>
          <a:prstGeom prst="rect">
            <a:avLst/>
          </a:prstGeom>
          <a:solidFill>
            <a:srgbClr val="FBD741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22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613037" y="6130895"/>
            <a:ext cx="9144000" cy="5454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dirty="0"/>
              <a:t>Location, DD MMM YYYY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8227298" y="5480963"/>
            <a:ext cx="15756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dirty="0">
                <a:solidFill>
                  <a:schemeClr val="bg1"/>
                </a:solidFill>
              </a:rPr>
              <a:t>CONFIDENTIAL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613037" y="5698292"/>
            <a:ext cx="215475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/>
              <a:t>© 2020 Karachaganak Petroleum Operating </a:t>
            </a:r>
            <a:r>
              <a:rPr lang="en-GB" sz="800" dirty="0" err="1"/>
              <a:t>b.v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71818014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15" name="Titolo 14"/>
          <p:cNvSpPr>
            <a:spLocks noGrp="1"/>
          </p:cNvSpPr>
          <p:nvPr userDrawn="1">
            <p:ph type="title" hasCustomPrompt="1"/>
          </p:nvPr>
        </p:nvSpPr>
        <p:spPr>
          <a:xfrm>
            <a:off x="1367020" y="82209"/>
            <a:ext cx="10824980" cy="77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it-IT" dirty="0"/>
              <a:t>AGENDA</a:t>
            </a:r>
          </a:p>
        </p:txBody>
      </p:sp>
      <p:sp>
        <p:nvSpPr>
          <p:cNvPr id="2" name="Segnaposto piè di pagina 1"/>
          <p:cNvSpPr>
            <a:spLocks noGrp="1"/>
          </p:cNvSpPr>
          <p:nvPr>
            <p:ph type="ftr" sz="quarter" idx="11"/>
          </p:nvPr>
        </p:nvSpPr>
        <p:spPr>
          <a:xfrm>
            <a:off x="7210" y="6430600"/>
            <a:ext cx="12015457" cy="332474"/>
          </a:xfrm>
          <a:prstGeom prst="rect">
            <a:avLst/>
          </a:prstGeom>
        </p:spPr>
        <p:txBody>
          <a:bodyPr/>
          <a:lstStyle/>
          <a:p>
            <a:r>
              <a:rPr lang="it-IT"/>
              <a:t>Event@DD MMM YYYY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  <a:endParaRPr lang="it-IT" dirty="0"/>
          </a:p>
        </p:txBody>
      </p:sp>
      <p:sp>
        <p:nvSpPr>
          <p:cNvPr id="5" name="Segnaposto contenuto 2"/>
          <p:cNvSpPr>
            <a:spLocks noGrp="1"/>
          </p:cNvSpPr>
          <p:nvPr>
            <p:ph sz="quarter" idx="12" hasCustomPrompt="1"/>
          </p:nvPr>
        </p:nvSpPr>
        <p:spPr>
          <a:xfrm>
            <a:off x="641246" y="1602000"/>
            <a:ext cx="10824534" cy="4323600"/>
          </a:xfrm>
          <a:prstGeom prst="rect">
            <a:avLst/>
          </a:prstGeom>
        </p:spPr>
        <p:txBody>
          <a:bodyPr/>
          <a:lstStyle>
            <a:lvl1pPr marL="342891" indent="-342891">
              <a:buFont typeface="Wingdings" panose="05000000000000000000" pitchFamily="2" charset="2"/>
              <a:buChar char="§"/>
              <a:defRPr/>
            </a:lvl1pPr>
            <a:lvl2pPr>
              <a:buClr>
                <a:srgbClr val="01B1C9"/>
              </a:buCl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2278611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15" name="Titolo 14"/>
          <p:cNvSpPr>
            <a:spLocks noGrp="1"/>
          </p:cNvSpPr>
          <p:nvPr userDrawn="1">
            <p:ph type="title" hasCustomPrompt="1"/>
          </p:nvPr>
        </p:nvSpPr>
        <p:spPr>
          <a:xfrm>
            <a:off x="1367020" y="82209"/>
            <a:ext cx="10824980" cy="77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it-IT" dirty="0"/>
              <a:t>AGENDA</a:t>
            </a:r>
          </a:p>
        </p:txBody>
      </p:sp>
      <p:sp>
        <p:nvSpPr>
          <p:cNvPr id="2" name="Segnaposto piè di pagina 1"/>
          <p:cNvSpPr>
            <a:spLocks noGrp="1"/>
          </p:cNvSpPr>
          <p:nvPr>
            <p:ph type="ftr" sz="quarter" idx="11"/>
          </p:nvPr>
        </p:nvSpPr>
        <p:spPr>
          <a:xfrm>
            <a:off x="7210" y="6430600"/>
            <a:ext cx="12015457" cy="332474"/>
          </a:xfrm>
          <a:prstGeom prst="rect">
            <a:avLst/>
          </a:prstGeom>
        </p:spPr>
        <p:txBody>
          <a:bodyPr/>
          <a:lstStyle/>
          <a:p>
            <a:r>
              <a:rPr lang="it-IT"/>
              <a:t>Event@DD MMM YYYY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  <a:endParaRPr lang="it-IT" dirty="0"/>
          </a:p>
        </p:txBody>
      </p:sp>
      <p:sp>
        <p:nvSpPr>
          <p:cNvPr id="6" name="Segnaposto tabella 7"/>
          <p:cNvSpPr>
            <a:spLocks noGrp="1"/>
          </p:cNvSpPr>
          <p:nvPr>
            <p:ph type="tbl" sz="quarter" idx="15"/>
          </p:nvPr>
        </p:nvSpPr>
        <p:spPr>
          <a:xfrm>
            <a:off x="640800" y="1147830"/>
            <a:ext cx="10824980" cy="5065401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1300">
                <a:latin typeface="Calibri" panose="020F0502020204030204" pitchFamily="34" charset="0"/>
              </a:defRPr>
            </a:lvl1pPr>
          </a:lstStyle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67681215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- 5 lev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7020" y="82209"/>
            <a:ext cx="10824980" cy="7776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210" y="6430600"/>
            <a:ext cx="12015457" cy="332474"/>
          </a:xfrm>
          <a:prstGeom prst="rect">
            <a:avLst/>
          </a:prstGeom>
        </p:spPr>
        <p:txBody>
          <a:bodyPr/>
          <a:lstStyle/>
          <a:p>
            <a:r>
              <a:rPr lang="it-IT" dirty="0"/>
              <a:t>Event@DD MMM YYYY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</a:p>
        </p:txBody>
      </p:sp>
      <p:sp>
        <p:nvSpPr>
          <p:cNvPr id="5" name="Segnaposto contenuto 2"/>
          <p:cNvSpPr>
            <a:spLocks noGrp="1"/>
          </p:cNvSpPr>
          <p:nvPr>
            <p:ph sz="quarter" idx="10" hasCustomPrompt="1"/>
          </p:nvPr>
        </p:nvSpPr>
        <p:spPr>
          <a:xfrm>
            <a:off x="641246" y="1602000"/>
            <a:ext cx="10824534" cy="4323600"/>
          </a:xfrm>
          <a:prstGeom prst="rect">
            <a:avLst/>
          </a:prstGeom>
        </p:spPr>
        <p:txBody>
          <a:bodyPr/>
          <a:lstStyle>
            <a:lvl1pPr marL="342891" indent="-342891">
              <a:buFont typeface="Wingdings" panose="05000000000000000000" pitchFamily="2" charset="2"/>
              <a:buChar char="§"/>
              <a:defRPr/>
            </a:lvl1pPr>
            <a:lvl2pPr>
              <a:buClr>
                <a:srgbClr val="01B1C9"/>
              </a:buClr>
              <a:defRPr/>
            </a:lvl2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206685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- 2 blocks separated by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640800" y="172800"/>
            <a:ext cx="10824980" cy="777600"/>
          </a:xfrm>
          <a:prstGeom prst="rect">
            <a:avLst/>
          </a:prstGeom>
        </p:spPr>
        <p:txBody>
          <a:bodyPr/>
          <a:lstStyle/>
          <a:p>
            <a:r>
              <a:rPr lang="it-IT" dirty="0"/>
              <a:t>Click to change the title style</a:t>
            </a:r>
          </a:p>
        </p:txBody>
      </p:sp>
      <p:sp>
        <p:nvSpPr>
          <p:cNvPr id="8" name="Segnaposto contenuto 7"/>
          <p:cNvSpPr>
            <a:spLocks noGrp="1"/>
          </p:cNvSpPr>
          <p:nvPr>
            <p:ph sz="quarter" idx="11" hasCustomPrompt="1"/>
          </p:nvPr>
        </p:nvSpPr>
        <p:spPr>
          <a:xfrm>
            <a:off x="640800" y="1426591"/>
            <a:ext cx="4971435" cy="4678131"/>
          </a:xfrm>
          <a:prstGeom prst="rect">
            <a:avLst/>
          </a:prstGeom>
        </p:spPr>
        <p:txBody>
          <a:bodyPr/>
          <a:lstStyle>
            <a:lvl2pPr>
              <a:buClr>
                <a:srgbClr val="01B1C9"/>
              </a:buClr>
              <a:defRPr/>
            </a:lvl2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  <p:sp>
        <p:nvSpPr>
          <p:cNvPr id="11" name="Segnaposto contenuto 10"/>
          <p:cNvSpPr>
            <a:spLocks noGrp="1"/>
          </p:cNvSpPr>
          <p:nvPr>
            <p:ph sz="quarter" idx="12" hasCustomPrompt="1"/>
          </p:nvPr>
        </p:nvSpPr>
        <p:spPr>
          <a:xfrm>
            <a:off x="6400800" y="1426518"/>
            <a:ext cx="5064980" cy="4679999"/>
          </a:xfrm>
          <a:prstGeom prst="rect">
            <a:avLst/>
          </a:prstGeom>
        </p:spPr>
        <p:txBody>
          <a:bodyPr/>
          <a:lstStyle>
            <a:lvl2pPr>
              <a:buClr>
                <a:srgbClr val="01B1C9"/>
              </a:buClr>
              <a:defRPr/>
            </a:lvl2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3"/>
          </p:nvPr>
        </p:nvSpPr>
        <p:spPr>
          <a:xfrm>
            <a:off x="7210" y="6430600"/>
            <a:ext cx="12015457" cy="332474"/>
          </a:xfrm>
          <a:prstGeom prst="rect">
            <a:avLst/>
          </a:prstGeom>
        </p:spPr>
        <p:txBody>
          <a:bodyPr/>
          <a:lstStyle/>
          <a:p>
            <a:r>
              <a:rPr lang="it-IT"/>
              <a:t>Event@DD MMM YYYY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  <a:endParaRPr lang="it-IT" dirty="0"/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0290717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eparator 50% transpar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/>
          <p:cNvSpPr>
            <a:spLocks noGrp="1"/>
          </p:cNvSpPr>
          <p:nvPr>
            <p:ph type="pic" sz="quarter" idx="11"/>
          </p:nvPr>
        </p:nvSpPr>
        <p:spPr>
          <a:xfrm>
            <a:off x="0" y="858414"/>
            <a:ext cx="12192000" cy="5989320"/>
          </a:xfrm>
          <a:prstGeom prst="rect">
            <a:avLst/>
          </a:prstGeom>
          <a:solidFill>
            <a:srgbClr val="F3BF00">
              <a:alpha val="49804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it-IT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6826B66-8BF2-45BB-AE23-4E8194445E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8" name="Segnaposto numero diapositiva 2">
            <a:extLst>
              <a:ext uri="{FF2B5EF4-FFF2-40B4-BE49-F238E27FC236}">
                <a16:creationId xmlns:a16="http://schemas.microsoft.com/office/drawing/2014/main" id="{E466ADC2-22F7-4833-9713-6EC1AA1F353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5B0524A0-0798-4F8C-97A0-D3AA5D8866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84965340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- 2 blocks separate titles and lin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3"/>
          <p:cNvSpPr>
            <a:spLocks noGrp="1"/>
          </p:cNvSpPr>
          <p:nvPr>
            <p:ph sz="half" idx="2" hasCustomPrompt="1"/>
          </p:nvPr>
        </p:nvSpPr>
        <p:spPr>
          <a:xfrm>
            <a:off x="715992" y="2113472"/>
            <a:ext cx="5167223" cy="40761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n-lt"/>
              </a:defRPr>
            </a:lvl1pPr>
            <a:lvl2pPr marL="742932" indent="-285744">
              <a:buClr>
                <a:srgbClr val="01B1C9"/>
              </a:buClr>
              <a:defRPr lang="it-IT" sz="2000" i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 hasCustomPrompt="1"/>
          </p:nvPr>
        </p:nvSpPr>
        <p:spPr>
          <a:xfrm>
            <a:off x="6206400" y="2113472"/>
            <a:ext cx="5259380" cy="4076191"/>
          </a:xfrm>
          <a:prstGeom prst="rect">
            <a:avLst/>
          </a:prstGeom>
        </p:spPr>
        <p:txBody>
          <a:bodyPr/>
          <a:lstStyle>
            <a:lvl2pPr marL="742932" indent="-285744">
              <a:buClr>
                <a:srgbClr val="01B1C9"/>
              </a:buClr>
              <a:defRPr lang="it-IT" sz="2000" i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/>
          <a:lstStyle/>
          <a:p>
            <a:fld id="{707872E8-939B-41AC-B617-4CE710FB602C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10" name="Titolo 9"/>
          <p:cNvSpPr>
            <a:spLocks noGrp="1"/>
          </p:cNvSpPr>
          <p:nvPr>
            <p:ph type="title" hasCustomPrompt="1"/>
          </p:nvPr>
        </p:nvSpPr>
        <p:spPr>
          <a:xfrm>
            <a:off x="1367020" y="82209"/>
            <a:ext cx="10824980" cy="777600"/>
          </a:xfrm>
          <a:prstGeom prst="rect">
            <a:avLst/>
          </a:prstGeom>
        </p:spPr>
        <p:txBody>
          <a:bodyPr/>
          <a:lstStyle/>
          <a:p>
            <a:r>
              <a:rPr lang="it-IT" dirty="0"/>
              <a:t>Click to change the title style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3"/>
          </p:nvPr>
        </p:nvSpPr>
        <p:spPr>
          <a:xfrm>
            <a:off x="723840" y="1309358"/>
            <a:ext cx="5159375" cy="541338"/>
          </a:xfrm>
          <a:prstGeom prst="rect">
            <a:avLst/>
          </a:prstGeom>
        </p:spPr>
        <p:txBody>
          <a:bodyPr/>
          <a:lstStyle>
            <a:lvl1pPr marL="0" indent="180975" algn="ctr">
              <a:lnSpc>
                <a:spcPct val="100000"/>
              </a:lnSpc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it-IT" dirty="0"/>
              <a:t>Modifica gli stili del testo dello schema</a:t>
            </a:r>
          </a:p>
        </p:txBody>
      </p:sp>
      <p:sp>
        <p:nvSpPr>
          <p:cNvPr id="13" name="Segnaposto testo 12"/>
          <p:cNvSpPr>
            <a:spLocks noGrp="1"/>
          </p:cNvSpPr>
          <p:nvPr>
            <p:ph type="body" sz="quarter" idx="14"/>
          </p:nvPr>
        </p:nvSpPr>
        <p:spPr>
          <a:xfrm>
            <a:off x="6207124" y="1309688"/>
            <a:ext cx="5258656" cy="5413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it-IT" dirty="0"/>
              <a:t>Modifica gli stili del testo</a:t>
            </a:r>
          </a:p>
        </p:txBody>
      </p:sp>
      <p:cxnSp>
        <p:nvCxnSpPr>
          <p:cNvPr id="11" name="Connettore 1 11"/>
          <p:cNvCxnSpPr/>
          <p:nvPr userDrawn="1"/>
        </p:nvCxnSpPr>
        <p:spPr>
          <a:xfrm>
            <a:off x="6056212" y="1426518"/>
            <a:ext cx="0" cy="4680000"/>
          </a:xfrm>
          <a:prstGeom prst="line">
            <a:avLst/>
          </a:prstGeom>
          <a:ln w="38100"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egnaposto piè di pagina 1"/>
          <p:cNvSpPr>
            <a:spLocks noGrp="1"/>
          </p:cNvSpPr>
          <p:nvPr>
            <p:ph type="ftr" sz="quarter" idx="15"/>
          </p:nvPr>
        </p:nvSpPr>
        <p:spPr>
          <a:xfrm>
            <a:off x="7210" y="6430600"/>
            <a:ext cx="12015457" cy="332474"/>
          </a:xfrm>
          <a:prstGeom prst="rect">
            <a:avLst/>
          </a:prstGeom>
        </p:spPr>
        <p:txBody>
          <a:bodyPr/>
          <a:lstStyle/>
          <a:p>
            <a:r>
              <a:rPr lang="it-IT"/>
              <a:t>Event@DD MMM YYYY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86691172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- 2 blocks seperate titles NO lin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715992" y="2113472"/>
            <a:ext cx="5167223" cy="40761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n-lt"/>
              </a:defRPr>
            </a:lvl1pPr>
            <a:lvl2pPr marL="742932" indent="-285744">
              <a:defRPr lang="it-IT" sz="2000" i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it-IT" dirty="0"/>
              <a:t>Modifica gli stili del testo dello schema</a:t>
            </a:r>
          </a:p>
          <a:p>
            <a:pPr marL="742932" lvl="1" indent="-285744" algn="l" defTabSz="914377" rtl="0" eaLnBrk="1" latinLnBrk="0" hangingPunct="1">
              <a:spcBef>
                <a:spcPct val="20000"/>
              </a:spcBef>
              <a:buClr>
                <a:srgbClr val="01B1C9"/>
              </a:buClr>
              <a:buFont typeface="Arial" pitchFamily="34" charset="0"/>
              <a:buChar char="•"/>
            </a:pPr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206400" y="2113472"/>
            <a:ext cx="5259380" cy="4076191"/>
          </a:xfrm>
          <a:prstGeom prst="rect">
            <a:avLst/>
          </a:prstGeom>
        </p:spPr>
        <p:txBody>
          <a:bodyPr/>
          <a:lstStyle>
            <a:lvl2pPr marL="742932" indent="-285744">
              <a:defRPr lang="it-IT" sz="2000" i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it-IT" dirty="0"/>
              <a:t>Modifica gli stili del testo dello schema</a:t>
            </a:r>
          </a:p>
          <a:p>
            <a:pPr marL="742932" lvl="1" indent="-285744" algn="l" defTabSz="914377" rtl="0" eaLnBrk="1" latinLnBrk="0" hangingPunct="1">
              <a:spcBef>
                <a:spcPct val="20000"/>
              </a:spcBef>
              <a:buClr>
                <a:srgbClr val="01B1C9"/>
              </a:buClr>
              <a:buFont typeface="Arial" pitchFamily="34" charset="0"/>
              <a:buChar char="•"/>
            </a:pPr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/>
          <a:lstStyle/>
          <a:p>
            <a:fld id="{707872E8-939B-41AC-B617-4CE710FB602C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10" name="Titolo 9"/>
          <p:cNvSpPr>
            <a:spLocks noGrp="1"/>
          </p:cNvSpPr>
          <p:nvPr>
            <p:ph type="title" hasCustomPrompt="1"/>
          </p:nvPr>
        </p:nvSpPr>
        <p:spPr>
          <a:xfrm>
            <a:off x="1367020" y="82209"/>
            <a:ext cx="10824980" cy="777600"/>
          </a:xfrm>
          <a:prstGeom prst="rect">
            <a:avLst/>
          </a:prstGeom>
        </p:spPr>
        <p:txBody>
          <a:bodyPr/>
          <a:lstStyle/>
          <a:p>
            <a:r>
              <a:rPr lang="it-IT" dirty="0"/>
              <a:t>Click to change the title style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3"/>
          </p:nvPr>
        </p:nvSpPr>
        <p:spPr>
          <a:xfrm>
            <a:off x="723840" y="1309358"/>
            <a:ext cx="5159375" cy="541338"/>
          </a:xfrm>
          <a:prstGeom prst="rect">
            <a:avLst/>
          </a:prstGeom>
        </p:spPr>
        <p:txBody>
          <a:bodyPr/>
          <a:lstStyle>
            <a:lvl1pPr marL="0" indent="180975" algn="ctr">
              <a:lnSpc>
                <a:spcPct val="100000"/>
              </a:lnSpc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it-IT" dirty="0"/>
              <a:t>Modifica gli stili del testo dello schema</a:t>
            </a:r>
          </a:p>
        </p:txBody>
      </p:sp>
      <p:sp>
        <p:nvSpPr>
          <p:cNvPr id="13" name="Segnaposto testo 12"/>
          <p:cNvSpPr>
            <a:spLocks noGrp="1"/>
          </p:cNvSpPr>
          <p:nvPr>
            <p:ph type="body" sz="quarter" idx="14"/>
          </p:nvPr>
        </p:nvSpPr>
        <p:spPr>
          <a:xfrm>
            <a:off x="6207124" y="1309688"/>
            <a:ext cx="5258656" cy="5413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it-IT" dirty="0"/>
              <a:t>Modifica gli stili del testo</a:t>
            </a:r>
          </a:p>
        </p:txBody>
      </p:sp>
      <p:sp>
        <p:nvSpPr>
          <p:cNvPr id="2" name="Segnaposto piè di pagina 1"/>
          <p:cNvSpPr>
            <a:spLocks noGrp="1"/>
          </p:cNvSpPr>
          <p:nvPr>
            <p:ph type="ftr" sz="quarter" idx="15"/>
          </p:nvPr>
        </p:nvSpPr>
        <p:spPr>
          <a:xfrm>
            <a:off x="7210" y="6430600"/>
            <a:ext cx="12015457" cy="332474"/>
          </a:xfrm>
          <a:prstGeom prst="rect">
            <a:avLst/>
          </a:prstGeom>
        </p:spPr>
        <p:txBody>
          <a:bodyPr/>
          <a:lstStyle/>
          <a:p>
            <a:r>
              <a:rPr lang="it-IT"/>
              <a:t>Event@DD MMM YYYY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37387627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- 2 blocks seperate titles AND shaded NO lin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715992" y="2113472"/>
            <a:ext cx="5167223" cy="40761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n-lt"/>
              </a:defRPr>
            </a:lvl1pPr>
            <a:lvl2pPr>
              <a:buClr>
                <a:srgbClr val="01B1C9"/>
              </a:buClr>
              <a:defRPr sz="20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 marL="2057349" indent="-228594">
              <a:buFont typeface="Arial" panose="020B0604020202020204" pitchFamily="34" charset="0"/>
              <a:buChar char="√"/>
              <a:defRPr sz="1600">
                <a:latin typeface="+mn-lt"/>
              </a:defRPr>
            </a:lvl5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206400" y="2113472"/>
            <a:ext cx="5259380" cy="4076191"/>
          </a:xfrm>
          <a:prstGeom prst="rect">
            <a:avLst/>
          </a:prstGeom>
        </p:spPr>
        <p:txBody>
          <a:bodyPr/>
          <a:lstStyle>
            <a:lvl2pPr>
              <a:buClr>
                <a:srgbClr val="01B1C9"/>
              </a:buClr>
              <a:defRPr/>
            </a:lvl2pPr>
            <a:lvl5pPr marL="2057349" indent="-228594">
              <a:buFont typeface="Arial" panose="020B0604020202020204" pitchFamily="34" charset="0"/>
              <a:buChar char="√"/>
              <a:defRPr/>
            </a:lvl5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/>
          <a:lstStyle/>
          <a:p>
            <a:fld id="{707872E8-939B-41AC-B617-4CE710FB602C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10" name="Titolo 9"/>
          <p:cNvSpPr>
            <a:spLocks noGrp="1"/>
          </p:cNvSpPr>
          <p:nvPr>
            <p:ph type="title" hasCustomPrompt="1"/>
          </p:nvPr>
        </p:nvSpPr>
        <p:spPr>
          <a:xfrm>
            <a:off x="1367020" y="82209"/>
            <a:ext cx="10824980" cy="777600"/>
          </a:xfrm>
          <a:prstGeom prst="rect">
            <a:avLst/>
          </a:prstGeom>
        </p:spPr>
        <p:txBody>
          <a:bodyPr/>
          <a:lstStyle/>
          <a:p>
            <a:r>
              <a:rPr lang="it-IT" dirty="0"/>
              <a:t>Click to change the title style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3"/>
          </p:nvPr>
        </p:nvSpPr>
        <p:spPr>
          <a:xfrm>
            <a:off x="1289095" y="1408026"/>
            <a:ext cx="4021016" cy="369332"/>
          </a:xfrm>
          <a:prstGeom prst="rect">
            <a:avLst/>
          </a:prstGeom>
          <a:solidFill>
            <a:schemeClr val="bg1"/>
          </a:solidFill>
          <a:effectLst>
            <a:outerShdw dist="101600" dir="8100000" algn="tr" rotWithShape="0">
              <a:srgbClr val="FFD500"/>
            </a:outerShdw>
          </a:effectLst>
        </p:spPr>
        <p:txBody>
          <a:bodyPr anchor="b" anchorCtr="1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it-IT" dirty="0"/>
              <a:t>Modifica gli stili del testo dello schema</a:t>
            </a:r>
          </a:p>
        </p:txBody>
      </p:sp>
      <p:sp>
        <p:nvSpPr>
          <p:cNvPr id="11" name="Segnaposto testo 4"/>
          <p:cNvSpPr>
            <a:spLocks noGrp="1"/>
          </p:cNvSpPr>
          <p:nvPr>
            <p:ph type="body" sz="quarter" idx="14"/>
          </p:nvPr>
        </p:nvSpPr>
        <p:spPr>
          <a:xfrm>
            <a:off x="6778892" y="1408026"/>
            <a:ext cx="4021016" cy="369332"/>
          </a:xfrm>
          <a:prstGeom prst="rect">
            <a:avLst/>
          </a:prstGeom>
          <a:solidFill>
            <a:schemeClr val="bg1"/>
          </a:solidFill>
          <a:effectLst>
            <a:outerShdw dist="101600" dir="8100000" algn="tr" rotWithShape="0">
              <a:srgbClr val="01B1C9"/>
            </a:outerShdw>
          </a:effectLst>
        </p:spPr>
        <p:txBody>
          <a:bodyPr anchor="b" anchorCtr="1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it-IT" dirty="0"/>
              <a:t>Modifica gli stili del testo dello schema</a:t>
            </a:r>
          </a:p>
        </p:txBody>
      </p:sp>
      <p:sp>
        <p:nvSpPr>
          <p:cNvPr id="2" name="Segnaposto piè di pagina 1"/>
          <p:cNvSpPr>
            <a:spLocks noGrp="1"/>
          </p:cNvSpPr>
          <p:nvPr>
            <p:ph type="ftr" sz="quarter" idx="15"/>
          </p:nvPr>
        </p:nvSpPr>
        <p:spPr>
          <a:xfrm>
            <a:off x="7210" y="6430600"/>
            <a:ext cx="12015457" cy="332474"/>
          </a:xfrm>
          <a:prstGeom prst="rect">
            <a:avLst/>
          </a:prstGeom>
        </p:spPr>
        <p:txBody>
          <a:bodyPr/>
          <a:lstStyle/>
          <a:p>
            <a:r>
              <a:rPr lang="it-IT"/>
              <a:t>Event@DD MMM YYYY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2314846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eparator NOT transpar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/>
          <p:cNvSpPr>
            <a:spLocks noGrp="1"/>
          </p:cNvSpPr>
          <p:nvPr>
            <p:ph type="pic" sz="quarter" idx="11"/>
          </p:nvPr>
        </p:nvSpPr>
        <p:spPr>
          <a:xfrm>
            <a:off x="0" y="868680"/>
            <a:ext cx="12192000" cy="5989320"/>
          </a:xfrm>
          <a:prstGeom prst="rect">
            <a:avLst/>
          </a:prstGeom>
          <a:solidFill>
            <a:srgbClr val="C6C6C6">
              <a:alpha val="50000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it-IT" dirty="0"/>
          </a:p>
        </p:txBody>
      </p:sp>
      <p:sp>
        <p:nvSpPr>
          <p:cNvPr id="4" name="Segnaposto piè di pagina 1"/>
          <p:cNvSpPr>
            <a:spLocks noGrp="1"/>
          </p:cNvSpPr>
          <p:nvPr>
            <p:ph type="ftr" sz="quarter" idx="20"/>
          </p:nvPr>
        </p:nvSpPr>
        <p:spPr>
          <a:xfrm>
            <a:off x="1" y="6409452"/>
            <a:ext cx="12022666" cy="365125"/>
          </a:xfrm>
          <a:prstGeom prst="rect">
            <a:avLst/>
          </a:prstGeom>
        </p:spPr>
        <p:txBody>
          <a:bodyPr/>
          <a:lstStyle/>
          <a:p>
            <a:r>
              <a:rPr lang="en-GB"/>
              <a:t>Event@DD MMM YYYY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560435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eparator 50% transpar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/>
          <p:cNvSpPr>
            <a:spLocks noGrp="1"/>
          </p:cNvSpPr>
          <p:nvPr>
            <p:ph type="pic" sz="quarter" idx="11"/>
          </p:nvPr>
        </p:nvSpPr>
        <p:spPr>
          <a:xfrm>
            <a:off x="0" y="1019174"/>
            <a:ext cx="12192000" cy="5828559"/>
          </a:xfrm>
          <a:prstGeom prst="rect">
            <a:avLst/>
          </a:prstGeom>
          <a:solidFill>
            <a:srgbClr val="F3BF00">
              <a:alpha val="49804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it-IT" dirty="0"/>
          </a:p>
        </p:txBody>
      </p:sp>
      <p:sp>
        <p:nvSpPr>
          <p:cNvPr id="4" name="Segnaposto titolo 1"/>
          <p:cNvSpPr txBox="1">
            <a:spLocks/>
          </p:cNvSpPr>
          <p:nvPr userDrawn="1"/>
        </p:nvSpPr>
        <p:spPr>
          <a:xfrm>
            <a:off x="640800" y="172800"/>
            <a:ext cx="10824980" cy="777600"/>
          </a:xfrm>
          <a:prstGeom prst="rect">
            <a:avLst/>
          </a:prstGeom>
        </p:spPr>
        <p:txBody>
          <a:bodyPr vert="horz" lIns="90000" tIns="45720" rIns="90000" bIns="45720" rtlCol="0" anchor="ctr">
            <a:normAutofit/>
          </a:bodyPr>
          <a:lstStyle>
            <a:lvl1pPr algn="l" defTabSz="914377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dirty="0"/>
              <a:t>Click to change the title style</a:t>
            </a:r>
          </a:p>
        </p:txBody>
      </p:sp>
      <p:sp>
        <p:nvSpPr>
          <p:cNvPr id="7" name="Segnaposto piè di pagina 1"/>
          <p:cNvSpPr>
            <a:spLocks noGrp="1"/>
          </p:cNvSpPr>
          <p:nvPr>
            <p:ph type="ftr" sz="quarter" idx="20"/>
          </p:nvPr>
        </p:nvSpPr>
        <p:spPr>
          <a:xfrm>
            <a:off x="1" y="6409452"/>
            <a:ext cx="12022666" cy="365125"/>
          </a:xfrm>
          <a:prstGeom prst="rect">
            <a:avLst/>
          </a:prstGeom>
        </p:spPr>
        <p:txBody>
          <a:bodyPr/>
          <a:lstStyle/>
          <a:p>
            <a:r>
              <a:rPr lang="en-GB"/>
              <a:t>Event@DD MMM YYYY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051362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gress char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/>
          <a:lstStyle/>
          <a:p>
            <a:fld id="{196ED67F-382A-4737-AF1C-676A922EA1CA}" type="slidenum">
              <a:rPr lang="it-IT" smtClean="0"/>
              <a:pPr/>
              <a:t>‹#›</a:t>
            </a:fld>
            <a:endParaRPr lang="it-IT" dirty="0"/>
          </a:p>
        </p:txBody>
      </p:sp>
      <p:sp>
        <p:nvSpPr>
          <p:cNvPr id="3" name="Segnaposto immagine 2"/>
          <p:cNvSpPr>
            <a:spLocks noGrp="1"/>
          </p:cNvSpPr>
          <p:nvPr>
            <p:ph type="pic" sz="quarter" idx="14"/>
          </p:nvPr>
        </p:nvSpPr>
        <p:spPr>
          <a:xfrm>
            <a:off x="0" y="1352549"/>
            <a:ext cx="6209955" cy="5493861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1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1 w 10000"/>
              <a:gd name="connsiteY4" fmla="*/ 0 h 10000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10002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7751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10000">
                <a:moveTo>
                  <a:pt x="2" y="0"/>
                </a:moveTo>
                <a:lnTo>
                  <a:pt x="10002" y="0"/>
                </a:lnTo>
                <a:lnTo>
                  <a:pt x="7751" y="10000"/>
                </a:lnTo>
                <a:lnTo>
                  <a:pt x="2" y="10000"/>
                </a:lnTo>
                <a:cubicBezTo>
                  <a:pt x="9" y="6667"/>
                  <a:pt x="-5" y="3333"/>
                  <a:pt x="2" y="0"/>
                </a:cubicBezTo>
                <a:close/>
              </a:path>
            </a:pathLst>
          </a:custGeom>
          <a:solidFill>
            <a:srgbClr val="FFD500">
              <a:alpha val="50000"/>
            </a:srgb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it-IT" dirty="0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3313667" y="1969732"/>
            <a:ext cx="3682800" cy="3682800"/>
          </a:xfrm>
          <a:prstGeom prst="ellipse">
            <a:avLst/>
          </a:prstGeom>
          <a:solidFill>
            <a:srgbClr val="C6C6C6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it-IT" dirty="0"/>
          </a:p>
        </p:txBody>
      </p:sp>
      <p:sp>
        <p:nvSpPr>
          <p:cNvPr id="9" name="Segnaposto titolo 1"/>
          <p:cNvSpPr txBox="1">
            <a:spLocks/>
          </p:cNvSpPr>
          <p:nvPr userDrawn="1"/>
        </p:nvSpPr>
        <p:spPr>
          <a:xfrm>
            <a:off x="640800" y="172800"/>
            <a:ext cx="10824980" cy="777600"/>
          </a:xfrm>
          <a:prstGeom prst="rect">
            <a:avLst/>
          </a:prstGeom>
        </p:spPr>
        <p:txBody>
          <a:bodyPr vert="horz" lIns="90000" tIns="45720" rIns="90000" bIns="45720" rtlCol="0" anchor="ctr">
            <a:normAutofit/>
          </a:bodyPr>
          <a:lstStyle>
            <a:lvl1pPr algn="l" defTabSz="914377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it-IT" dirty="0"/>
          </a:p>
        </p:txBody>
      </p:sp>
      <p:sp>
        <p:nvSpPr>
          <p:cNvPr id="13" name="Segnaposto piè di pagina 1"/>
          <p:cNvSpPr>
            <a:spLocks noGrp="1"/>
          </p:cNvSpPr>
          <p:nvPr>
            <p:ph type="ftr" sz="quarter" idx="20"/>
          </p:nvPr>
        </p:nvSpPr>
        <p:spPr>
          <a:xfrm>
            <a:off x="1" y="6409452"/>
            <a:ext cx="12022666" cy="365125"/>
          </a:xfrm>
          <a:prstGeom prst="rect">
            <a:avLst/>
          </a:prstGeom>
        </p:spPr>
        <p:txBody>
          <a:bodyPr/>
          <a:lstStyle/>
          <a:p>
            <a:r>
              <a:rPr lang="en-GB"/>
              <a:t>Event@DD MMM YYYY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  <a:endParaRPr lang="en-GB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88" y="836091"/>
            <a:ext cx="8185151" cy="4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3543677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gress char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/>
          <a:lstStyle/>
          <a:p>
            <a:fld id="{196ED67F-382A-4737-AF1C-676A922EA1CA}" type="slidenum">
              <a:rPr lang="it-IT" smtClean="0"/>
              <a:pPr/>
              <a:t>‹#›</a:t>
            </a:fld>
            <a:endParaRPr lang="it-IT" dirty="0"/>
          </a:p>
        </p:txBody>
      </p:sp>
      <p:sp>
        <p:nvSpPr>
          <p:cNvPr id="3" name="Segnaposto immagine 2"/>
          <p:cNvSpPr>
            <a:spLocks noGrp="1"/>
          </p:cNvSpPr>
          <p:nvPr>
            <p:ph type="pic" sz="quarter" idx="14"/>
          </p:nvPr>
        </p:nvSpPr>
        <p:spPr>
          <a:xfrm>
            <a:off x="0" y="1013229"/>
            <a:ext cx="6209955" cy="5761347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1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1 w 10000"/>
              <a:gd name="connsiteY4" fmla="*/ 0 h 10000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10002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7751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10000">
                <a:moveTo>
                  <a:pt x="2" y="0"/>
                </a:moveTo>
                <a:lnTo>
                  <a:pt x="10002" y="0"/>
                </a:lnTo>
                <a:lnTo>
                  <a:pt x="7751" y="10000"/>
                </a:lnTo>
                <a:lnTo>
                  <a:pt x="2" y="10000"/>
                </a:lnTo>
                <a:cubicBezTo>
                  <a:pt x="9" y="6667"/>
                  <a:pt x="-5" y="3333"/>
                  <a:pt x="2" y="0"/>
                </a:cubicBezTo>
                <a:close/>
              </a:path>
            </a:pathLst>
          </a:custGeom>
          <a:solidFill>
            <a:srgbClr val="F3BF00">
              <a:alpha val="49804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it-IT" dirty="0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1135965" y="1138334"/>
            <a:ext cx="5333529" cy="5297529"/>
          </a:xfrm>
          <a:prstGeom prst="ellipse">
            <a:avLst/>
          </a:prstGeom>
          <a:solidFill>
            <a:srgbClr val="C6C6C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it-IT" dirty="0"/>
          </a:p>
        </p:txBody>
      </p:sp>
      <p:sp>
        <p:nvSpPr>
          <p:cNvPr id="8" name="Segnaposto tabella 7"/>
          <p:cNvSpPr>
            <a:spLocks noGrp="1"/>
          </p:cNvSpPr>
          <p:nvPr>
            <p:ph type="tbl" sz="quarter" idx="15"/>
          </p:nvPr>
        </p:nvSpPr>
        <p:spPr>
          <a:xfrm>
            <a:off x="6587411" y="4273984"/>
            <a:ext cx="5016599" cy="220973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endParaRPr lang="it-IT" dirty="0"/>
          </a:p>
        </p:txBody>
      </p:sp>
      <p:sp>
        <p:nvSpPr>
          <p:cNvPr id="12" name="Segnaposto grafico 11"/>
          <p:cNvSpPr>
            <a:spLocks noGrp="1"/>
          </p:cNvSpPr>
          <p:nvPr>
            <p:ph type="chart" sz="quarter" idx="16"/>
          </p:nvPr>
        </p:nvSpPr>
        <p:spPr>
          <a:xfrm>
            <a:off x="6587413" y="964413"/>
            <a:ext cx="5016598" cy="3237737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endParaRPr lang="it-IT"/>
          </a:p>
        </p:txBody>
      </p:sp>
      <p:sp>
        <p:nvSpPr>
          <p:cNvPr id="9" name="Segnaposto titolo 1"/>
          <p:cNvSpPr txBox="1">
            <a:spLocks/>
          </p:cNvSpPr>
          <p:nvPr userDrawn="1"/>
        </p:nvSpPr>
        <p:spPr>
          <a:xfrm>
            <a:off x="640800" y="172800"/>
            <a:ext cx="10824980" cy="777600"/>
          </a:xfrm>
          <a:prstGeom prst="rect">
            <a:avLst/>
          </a:prstGeom>
        </p:spPr>
        <p:txBody>
          <a:bodyPr vert="horz" lIns="90000" tIns="45720" rIns="90000" bIns="45720" rtlCol="0" anchor="ctr">
            <a:normAutofit/>
          </a:bodyPr>
          <a:lstStyle>
            <a:lvl1pPr algn="l" defTabSz="914377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it-IT" dirty="0"/>
          </a:p>
        </p:txBody>
      </p:sp>
      <p:sp>
        <p:nvSpPr>
          <p:cNvPr id="13" name="Segnaposto piè di pagina 1"/>
          <p:cNvSpPr>
            <a:spLocks noGrp="1"/>
          </p:cNvSpPr>
          <p:nvPr>
            <p:ph type="ftr" sz="quarter" idx="20"/>
          </p:nvPr>
        </p:nvSpPr>
        <p:spPr>
          <a:xfrm>
            <a:off x="1" y="6409452"/>
            <a:ext cx="12022666" cy="365125"/>
          </a:xfrm>
          <a:prstGeom prst="rect">
            <a:avLst/>
          </a:prstGeom>
        </p:spPr>
        <p:txBody>
          <a:bodyPr/>
          <a:lstStyle/>
          <a:p>
            <a:r>
              <a:rPr lang="en-GB"/>
              <a:t>Event@DD MMM YYYY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  <a:endParaRPr lang="en-GB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88" y="836091"/>
            <a:ext cx="8185151" cy="4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5075216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es with line separation and shad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egnaposto titolo 1"/>
          <p:cNvSpPr>
            <a:spLocks noGrp="1"/>
          </p:cNvSpPr>
          <p:nvPr>
            <p:ph type="title" hasCustomPrompt="1"/>
          </p:nvPr>
        </p:nvSpPr>
        <p:spPr>
          <a:xfrm>
            <a:off x="641246" y="173479"/>
            <a:ext cx="10791104" cy="7780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4000" b="1" i="0" baseline="0"/>
            </a:lvl1pPr>
          </a:lstStyle>
          <a:p>
            <a:r>
              <a:rPr lang="it-IT" dirty="0"/>
              <a:t>Click to change the style</a:t>
            </a:r>
          </a:p>
        </p:txBody>
      </p:sp>
      <p:sp>
        <p:nvSpPr>
          <p:cNvPr id="12" name="Segnaposto testo 11"/>
          <p:cNvSpPr>
            <a:spLocks noGrp="1"/>
          </p:cNvSpPr>
          <p:nvPr>
            <p:ph type="body" sz="quarter" idx="10"/>
          </p:nvPr>
        </p:nvSpPr>
        <p:spPr>
          <a:xfrm>
            <a:off x="640799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01B1C9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endParaRPr lang="it-IT" dirty="0"/>
          </a:p>
        </p:txBody>
      </p:sp>
      <p:sp>
        <p:nvSpPr>
          <p:cNvPr id="14" name="Segnaposto testo 13"/>
          <p:cNvSpPr>
            <a:spLocks noGrp="1"/>
          </p:cNvSpPr>
          <p:nvPr>
            <p:ph type="body" sz="quarter" idx="11"/>
          </p:nvPr>
        </p:nvSpPr>
        <p:spPr>
          <a:xfrm>
            <a:off x="4460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endParaRPr lang="it-IT" dirty="0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2"/>
          </p:nvPr>
        </p:nvSpPr>
        <p:spPr>
          <a:xfrm>
            <a:off x="8276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chemeClr val="bg1">
                <a:lumMod val="75000"/>
              </a:schemeClr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endParaRPr lang="it-IT" dirty="0"/>
          </a:p>
        </p:txBody>
      </p:sp>
      <p:cxnSp>
        <p:nvCxnSpPr>
          <p:cNvPr id="18" name="Connettore 1 13"/>
          <p:cNvCxnSpPr/>
          <p:nvPr userDrawn="1"/>
        </p:nvCxnSpPr>
        <p:spPr>
          <a:xfrm>
            <a:off x="4070685" y="113107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1 13"/>
          <p:cNvCxnSpPr/>
          <p:nvPr userDrawn="1"/>
        </p:nvCxnSpPr>
        <p:spPr>
          <a:xfrm>
            <a:off x="7880684" y="113040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egnaposto testo 31"/>
          <p:cNvSpPr>
            <a:spLocks noGrp="1"/>
          </p:cNvSpPr>
          <p:nvPr>
            <p:ph type="body" sz="quarter" idx="16"/>
          </p:nvPr>
        </p:nvSpPr>
        <p:spPr>
          <a:xfrm>
            <a:off x="1389600" y="5407200"/>
            <a:ext cx="9486000" cy="7308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>
            <a:normAutofit/>
          </a:bodyPr>
          <a:lstStyle>
            <a:lvl1pPr algn="ctr">
              <a:buNone/>
              <a:defRPr sz="1600" b="1" i="0" baseline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/>
            <a:endParaRPr lang="it-IT" dirty="0"/>
          </a:p>
        </p:txBody>
      </p:sp>
      <p:sp>
        <p:nvSpPr>
          <p:cNvPr id="20" name="Segnaposto testo 19"/>
          <p:cNvSpPr>
            <a:spLocks noGrp="1"/>
          </p:cNvSpPr>
          <p:nvPr>
            <p:ph type="body" sz="quarter" idx="17" hasCustomPrompt="1"/>
          </p:nvPr>
        </p:nvSpPr>
        <p:spPr>
          <a:xfrm>
            <a:off x="640800" y="2209575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21" name="Segnaposto testo 19"/>
          <p:cNvSpPr>
            <a:spLocks noGrp="1"/>
          </p:cNvSpPr>
          <p:nvPr>
            <p:ph type="body" sz="quarter" idx="18" hasCustomPrompt="1"/>
          </p:nvPr>
        </p:nvSpPr>
        <p:spPr>
          <a:xfrm>
            <a:off x="4460400" y="2242232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22" name="Segnaposto testo 19"/>
          <p:cNvSpPr>
            <a:spLocks noGrp="1"/>
          </p:cNvSpPr>
          <p:nvPr>
            <p:ph type="body" sz="quarter" idx="19" hasCustomPrompt="1"/>
          </p:nvPr>
        </p:nvSpPr>
        <p:spPr>
          <a:xfrm>
            <a:off x="8276400" y="2264004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15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2" name="Segnaposto piè di pagina 1"/>
          <p:cNvSpPr>
            <a:spLocks noGrp="1"/>
          </p:cNvSpPr>
          <p:nvPr>
            <p:ph type="ftr" sz="quarter" idx="20"/>
          </p:nvPr>
        </p:nvSpPr>
        <p:spPr>
          <a:xfrm>
            <a:off x="1" y="6409452"/>
            <a:ext cx="12022666" cy="365125"/>
          </a:xfrm>
          <a:prstGeom prst="rect">
            <a:avLst/>
          </a:prstGeom>
        </p:spPr>
        <p:txBody>
          <a:bodyPr/>
          <a:lstStyle/>
          <a:p>
            <a:r>
              <a:rPr lang="en-GB"/>
              <a:t>Event@DD MMM YYYY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679640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7020" y="82209"/>
            <a:ext cx="10824980" cy="777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210" y="6430600"/>
            <a:ext cx="12015457" cy="33247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GB"/>
              <a:t>Event@DD MMM YYYY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755845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D951BEC-6D24-4D80-BDEE-5778CEABCB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4344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t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F02590-5B9A-433C-8E74-2EA3995C0DAF}" type="datetime1">
              <a:rPr lang="ru-RU" smtClean="0"/>
              <a:t>22.12.2025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F9E27A2-87EC-45AA-902D-31AA918DD4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7512" y="6530073"/>
            <a:ext cx="80710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JOC 18 March 2014 </a:t>
            </a:r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02A44DB-F395-4A25-91A5-3D41C0F9E3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75609" y="64552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Content Placeholder 7">
            <a:extLst>
              <a:ext uri="{FF2B5EF4-FFF2-40B4-BE49-F238E27FC236}">
                <a16:creationId xmlns:a16="http://schemas.microsoft.com/office/drawing/2014/main" id="{8264A752-70D9-434A-94B7-FF2C86E32A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76136EA-776E-4BBF-B0C3-A2681D1066F7}"/>
              </a:ext>
            </a:extLst>
          </p:cNvPr>
          <p:cNvSpPr/>
          <p:nvPr userDrawn="1"/>
        </p:nvSpPr>
        <p:spPr>
          <a:xfrm>
            <a:off x="-1" y="4244083"/>
            <a:ext cx="9757038" cy="1536700"/>
          </a:xfrm>
          <a:prstGeom prst="rect">
            <a:avLst/>
          </a:prstGeom>
          <a:solidFill>
            <a:srgbClr val="00ABC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0FE704E-4644-43BF-B6A7-320FC061E47B}"/>
              </a:ext>
            </a:extLst>
          </p:cNvPr>
          <p:cNvSpPr/>
          <p:nvPr userDrawn="1"/>
        </p:nvSpPr>
        <p:spPr>
          <a:xfrm>
            <a:off x="-1" y="5765296"/>
            <a:ext cx="8089643" cy="126853"/>
          </a:xfrm>
          <a:prstGeom prst="rect">
            <a:avLst/>
          </a:prstGeom>
          <a:solidFill>
            <a:srgbClr val="FBD741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25D9C2-03A7-4921-A754-89324102A227}"/>
              </a:ext>
            </a:extLst>
          </p:cNvPr>
          <p:cNvSpPr/>
          <p:nvPr userDrawn="1"/>
        </p:nvSpPr>
        <p:spPr>
          <a:xfrm>
            <a:off x="613037" y="5726867"/>
            <a:ext cx="215475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/>
              <a:t>© 2022 Karachaganak Petroleum Operating </a:t>
            </a:r>
            <a:r>
              <a:rPr lang="en-GB" sz="800" dirty="0" err="1"/>
              <a:t>b.v</a:t>
            </a:r>
            <a:endParaRPr lang="en-GB" sz="800" dirty="0"/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E10B9D07-1445-4D84-B94A-B4A83DA4509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28599" y="4731905"/>
            <a:ext cx="8848726" cy="9521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pCom/ConCom/JOC and/or any other external/internal meetings/forums/sessions </a:t>
            </a:r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50673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gress char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/>
          <p:cNvSpPr>
            <a:spLocks noGrp="1"/>
          </p:cNvSpPr>
          <p:nvPr>
            <p:ph type="pic" sz="quarter" idx="14"/>
          </p:nvPr>
        </p:nvSpPr>
        <p:spPr>
          <a:xfrm>
            <a:off x="0" y="857091"/>
            <a:ext cx="6209955" cy="598932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1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1 w 10000"/>
              <a:gd name="connsiteY4" fmla="*/ 0 h 10000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10002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7751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10000">
                <a:moveTo>
                  <a:pt x="2" y="0"/>
                </a:moveTo>
                <a:lnTo>
                  <a:pt x="10002" y="0"/>
                </a:lnTo>
                <a:lnTo>
                  <a:pt x="7751" y="10000"/>
                </a:lnTo>
                <a:lnTo>
                  <a:pt x="2" y="10000"/>
                </a:lnTo>
                <a:cubicBezTo>
                  <a:pt x="9" y="6667"/>
                  <a:pt x="-5" y="3333"/>
                  <a:pt x="2" y="0"/>
                </a:cubicBezTo>
                <a:close/>
              </a:path>
            </a:pathLst>
          </a:custGeom>
          <a:solidFill>
            <a:srgbClr val="FFD500">
              <a:alpha val="50000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it-IT" dirty="0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3313667" y="1969732"/>
            <a:ext cx="3682800" cy="3682800"/>
          </a:xfrm>
          <a:prstGeom prst="ellipse">
            <a:avLst/>
          </a:prstGeom>
          <a:solidFill>
            <a:srgbClr val="C6C6C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egnaposto tabella 7"/>
          <p:cNvSpPr>
            <a:spLocks noGrp="1"/>
          </p:cNvSpPr>
          <p:nvPr>
            <p:ph type="tbl" sz="quarter" idx="15"/>
          </p:nvPr>
        </p:nvSpPr>
        <p:spPr>
          <a:xfrm>
            <a:off x="7249886" y="950400"/>
            <a:ext cx="4354125" cy="38268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table</a:t>
            </a:r>
            <a:endParaRPr lang="it-IT" dirty="0"/>
          </a:p>
        </p:txBody>
      </p:sp>
      <p:sp>
        <p:nvSpPr>
          <p:cNvPr id="12" name="Segnaposto grafico 11"/>
          <p:cNvSpPr>
            <a:spLocks noGrp="1"/>
          </p:cNvSpPr>
          <p:nvPr>
            <p:ph type="chart" sz="quarter" idx="16"/>
          </p:nvPr>
        </p:nvSpPr>
        <p:spPr>
          <a:xfrm>
            <a:off x="7249887" y="5652532"/>
            <a:ext cx="4354124" cy="763587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chart</a:t>
            </a:r>
            <a:endParaRPr lang="it-IT"/>
          </a:p>
        </p:txBody>
      </p:sp>
      <p:sp>
        <p:nvSpPr>
          <p:cNvPr id="14" name="Segnaposto tabella 13"/>
          <p:cNvSpPr>
            <a:spLocks noGrp="1"/>
          </p:cNvSpPr>
          <p:nvPr>
            <p:ph type="tbl" sz="quarter" idx="17"/>
          </p:nvPr>
        </p:nvSpPr>
        <p:spPr>
          <a:xfrm>
            <a:off x="7250566" y="4934575"/>
            <a:ext cx="4354124" cy="55721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table</a:t>
            </a:r>
            <a:endParaRPr lang="it-IT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E64CCC5-F333-41FC-861A-7DBFE58CE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1" name="Segnaposto numero diapositiva 2">
            <a:extLst>
              <a:ext uri="{FF2B5EF4-FFF2-40B4-BE49-F238E27FC236}">
                <a16:creationId xmlns:a16="http://schemas.microsoft.com/office/drawing/2014/main" id="{E3159197-600B-4F1B-894F-E712034ACD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15" name="Segnaposto piè di pagina 2">
            <a:extLst>
              <a:ext uri="{FF2B5EF4-FFF2-40B4-BE49-F238E27FC236}">
                <a16:creationId xmlns:a16="http://schemas.microsoft.com/office/drawing/2014/main" id="{5DED11AE-48A6-43DA-B206-E932BB964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  <p:pic>
        <p:nvPicPr>
          <p:cNvPr id="13" name="Immagine 8">
            <a:extLst>
              <a:ext uri="{FF2B5EF4-FFF2-40B4-BE49-F238E27FC236}">
                <a16:creationId xmlns:a16="http://schemas.microsoft.com/office/drawing/2014/main" id="{708B99D3-A207-45CD-ACBC-0C0401B2C5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32850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3F82AA-6A3C-4B7E-8611-DE58C4244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229" y="403225"/>
            <a:ext cx="4921541" cy="473075"/>
          </a:xfrm>
          <a:prstGeom prst="rect">
            <a:avLst/>
          </a:prstGeom>
        </p:spPr>
        <p:txBody>
          <a:bodyPr/>
          <a:lstStyle>
            <a:lvl1pPr algn="ctr"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8DEA17-3889-4D77-AD3E-7CA42BD25B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70540D-0FAC-4C1F-A3A5-5DA688D080E1}" type="datetime1">
              <a:rPr lang="ru-RU" smtClean="0"/>
              <a:t>22.12.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62E90-CA0C-4467-8A15-A230BBAA45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OC 18 March 2014 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9A4455-E56D-4A2B-AC9E-10EA0546D5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504204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855B43B8-51EA-423C-AA9B-BDFD3D5151AC}"/>
              </a:ext>
            </a:extLst>
          </p:cNvPr>
          <p:cNvSpPr/>
          <p:nvPr userDrawn="1"/>
        </p:nvSpPr>
        <p:spPr>
          <a:xfrm>
            <a:off x="0" y="3535062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728B678-13FB-4938-8058-8E21911E9D7A}"/>
              </a:ext>
            </a:extLst>
          </p:cNvPr>
          <p:cNvSpPr/>
          <p:nvPr userDrawn="1"/>
        </p:nvSpPr>
        <p:spPr>
          <a:xfrm>
            <a:off x="683568" y="4149194"/>
            <a:ext cx="770350" cy="1334334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1">
              <a:solidFill>
                <a:srgbClr val="00B5C9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91F3C88-6932-43FB-B127-883BE07E4F68}"/>
              </a:ext>
            </a:extLst>
          </p:cNvPr>
          <p:cNvSpPr/>
          <p:nvPr userDrawn="1"/>
        </p:nvSpPr>
        <p:spPr>
          <a:xfrm>
            <a:off x="0" y="-8238"/>
            <a:ext cx="12192000" cy="3543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5AC5782-9956-4A28-9090-97585E3C4EA4}"/>
              </a:ext>
            </a:extLst>
          </p:cNvPr>
          <p:cNvSpPr/>
          <p:nvPr userDrawn="1"/>
        </p:nvSpPr>
        <p:spPr>
          <a:xfrm>
            <a:off x="0" y="34290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3F1AA14-047E-49CB-B7E7-5567060E5078}"/>
              </a:ext>
            </a:extLst>
          </p:cNvPr>
          <p:cNvSpPr/>
          <p:nvPr userDrawn="1"/>
        </p:nvSpPr>
        <p:spPr>
          <a:xfrm>
            <a:off x="6096000" y="6751938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2B8C3BD-09D3-490C-8BB3-D8CC55BA09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2693" y="1367471"/>
            <a:ext cx="2098907" cy="1581570"/>
          </a:xfrm>
          <a:prstGeom prst="rect">
            <a:avLst/>
          </a:prstGeom>
        </p:spPr>
      </p:pic>
      <p:sp>
        <p:nvSpPr>
          <p:cNvPr id="21" name="Titolo 1">
            <a:extLst>
              <a:ext uri="{FF2B5EF4-FFF2-40B4-BE49-F238E27FC236}">
                <a16:creationId xmlns:a16="http://schemas.microsoft.com/office/drawing/2014/main" id="{F0BB45C6-8760-4DFF-A3EC-4E4CEFF26E0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0699" y="3268740"/>
            <a:ext cx="1276088" cy="1866057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ctr" eaLnBrk="1" hangingPunct="1">
              <a:defRPr lang="it-IT" sz="4000" b="1" kern="1200" dirty="0">
                <a:solidFill>
                  <a:srgbClr val="FFFFFF"/>
                </a:solidFill>
                <a:latin typeface="+mn-lt"/>
                <a:ea typeface="+mj-ea"/>
                <a:cs typeface="+mj-cs"/>
              </a:defRPr>
            </a:lvl1pPr>
          </a:lstStyle>
          <a:p>
            <a:pPr eaLnBrk="1" hangingPunct="1"/>
            <a:r>
              <a:rPr lang="en-US" altLang="en-US" sz="3600" b="1" dirty="0">
                <a:solidFill>
                  <a:srgbClr val="FFFFFF"/>
                </a:solidFill>
                <a:cs typeface="Arial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8306646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4F85D4-350A-4934-94C2-B0CF17F11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C7E120-79CA-414D-A8DA-F262BE5288FF}" type="datetime1">
              <a:rPr lang="ru-RU" smtClean="0"/>
              <a:t>22.12.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805AC1-3FF1-4AF9-8803-3CBBBFF911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OC 18 March 2014 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EB158-BBFC-43BB-8377-A5774A8AE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icture Placeholder 20">
            <a:extLst>
              <a:ext uri="{FF2B5EF4-FFF2-40B4-BE49-F238E27FC236}">
                <a16:creationId xmlns:a16="http://schemas.microsoft.com/office/drawing/2014/main" id="{11C1103D-CEF6-4A34-BB84-9CD9D6AF06B9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7" name="Picture Placeholder 18">
            <a:extLst>
              <a:ext uri="{FF2B5EF4-FFF2-40B4-BE49-F238E27FC236}">
                <a16:creationId xmlns:a16="http://schemas.microsoft.com/office/drawing/2014/main" id="{B10DB224-1BDC-4CBE-90F4-38C848316105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8" name="Picture Placeholder 19">
            <a:extLst>
              <a:ext uri="{FF2B5EF4-FFF2-40B4-BE49-F238E27FC236}">
                <a16:creationId xmlns:a16="http://schemas.microsoft.com/office/drawing/2014/main" id="{0451E06C-C20B-4542-80E3-B5BF078B8A87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3017145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F9FA7A-FCC0-44E8-ADF7-832DF1328D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1296" y="402794"/>
            <a:ext cx="5568950" cy="582613"/>
          </a:xfrm>
          <a:prstGeom prst="rect">
            <a:avLst/>
          </a:prstGeo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A6C748-72DD-4C78-861F-A78C0222C9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CD024-C8D6-4EA1-B633-B5D997E8196F}" type="datetime1">
              <a:rPr lang="ru-RU" smtClean="0"/>
              <a:t>22.12.2025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EC9F04-8F47-4F4F-A1CD-7BA9AE005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직사각형 7">
            <a:extLst>
              <a:ext uri="{FF2B5EF4-FFF2-40B4-BE49-F238E27FC236}">
                <a16:creationId xmlns:a16="http://schemas.microsoft.com/office/drawing/2014/main" id="{8B5DE974-BFF0-4731-95F9-6EEFBA0F11BE}"/>
              </a:ext>
            </a:extLst>
          </p:cNvPr>
          <p:cNvSpPr/>
          <p:nvPr userDrawn="1"/>
        </p:nvSpPr>
        <p:spPr>
          <a:xfrm>
            <a:off x="0" y="2362200"/>
            <a:ext cx="12191999" cy="2133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그림 개체 틀 6">
            <a:extLst>
              <a:ext uri="{FF2B5EF4-FFF2-40B4-BE49-F238E27FC236}">
                <a16:creationId xmlns:a16="http://schemas.microsoft.com/office/drawing/2014/main" id="{069EA79A-7C3E-4577-896A-2E9E2230893C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534029" y="2"/>
            <a:ext cx="6657973" cy="6857999"/>
          </a:xfrm>
          <a:custGeom>
            <a:avLst/>
            <a:gdLst>
              <a:gd name="connsiteX0" fmla="*/ 2362199 w 6657973"/>
              <a:gd name="connsiteY0" fmla="*/ 0 h 6857999"/>
              <a:gd name="connsiteX1" fmla="*/ 6657973 w 6657973"/>
              <a:gd name="connsiteY1" fmla="*/ 0 h 6857999"/>
              <a:gd name="connsiteX2" fmla="*/ 6657973 w 6657973"/>
              <a:gd name="connsiteY2" fmla="*/ 3630706 h 6857999"/>
              <a:gd name="connsiteX3" fmla="*/ 6657972 w 6657973"/>
              <a:gd name="connsiteY3" fmla="*/ 6857999 h 6857999"/>
              <a:gd name="connsiteX4" fmla="*/ 2362198 w 6657973"/>
              <a:gd name="connsiteY4" fmla="*/ 6857999 h 6857999"/>
              <a:gd name="connsiteX5" fmla="*/ 2362198 w 6657973"/>
              <a:gd name="connsiteY5" fmla="*/ 6857999 h 6857999"/>
              <a:gd name="connsiteX6" fmla="*/ 0 w 6657973"/>
              <a:gd name="connsiteY6" fmla="*/ 343853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57973" h="6857999">
                <a:moveTo>
                  <a:pt x="2362199" y="0"/>
                </a:moveTo>
                <a:lnTo>
                  <a:pt x="6657973" y="0"/>
                </a:lnTo>
                <a:lnTo>
                  <a:pt x="6657973" y="3630706"/>
                </a:lnTo>
                <a:lnTo>
                  <a:pt x="6657972" y="6857999"/>
                </a:lnTo>
                <a:lnTo>
                  <a:pt x="2362198" y="6857999"/>
                </a:lnTo>
                <a:lnTo>
                  <a:pt x="2362198" y="6857999"/>
                </a:lnTo>
                <a:lnTo>
                  <a:pt x="0" y="34385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D550EE-67B9-43DA-9CFD-4C1DCE163A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OC 18 March 2014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428790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A241F4F-C16C-4747-B37C-642EF39ECC44}"/>
              </a:ext>
            </a:extLst>
          </p:cNvPr>
          <p:cNvSpPr/>
          <p:nvPr userDrawn="1"/>
        </p:nvSpPr>
        <p:spPr>
          <a:xfrm>
            <a:off x="0" y="3543300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AFE592-FBF3-49A2-95E7-8917B7DD4DF4}"/>
              </a:ext>
            </a:extLst>
          </p:cNvPr>
          <p:cNvSpPr/>
          <p:nvPr userDrawn="1"/>
        </p:nvSpPr>
        <p:spPr>
          <a:xfrm>
            <a:off x="6096000" y="6754812"/>
            <a:ext cx="6096000" cy="103188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AF9BB6F-1977-43D2-802F-64D37E3FB1DE}"/>
              </a:ext>
            </a:extLst>
          </p:cNvPr>
          <p:cNvSpPr/>
          <p:nvPr userDrawn="1"/>
        </p:nvSpPr>
        <p:spPr>
          <a:xfrm>
            <a:off x="0" y="0"/>
            <a:ext cx="12192000" cy="3543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1F5FAC-9DE8-4A62-BF70-AD6851D91F31}"/>
              </a:ext>
            </a:extLst>
          </p:cNvPr>
          <p:cNvSpPr txBox="1"/>
          <p:nvPr userDrawn="1"/>
        </p:nvSpPr>
        <p:spPr>
          <a:xfrm>
            <a:off x="4378777" y="2584036"/>
            <a:ext cx="455204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400" dirty="0">
                <a:solidFill>
                  <a:schemeClr val="accent1"/>
                </a:solidFill>
                <a:cs typeface="Arial" pitchFamily="34" charset="0"/>
              </a:rPr>
              <a:t>Thank You!</a:t>
            </a:r>
            <a:endParaRPr lang="ko-KR" altLang="en-US" sz="5400" dirty="0">
              <a:solidFill>
                <a:schemeClr val="accent1"/>
              </a:solidFill>
              <a:cs typeface="Arial" pitchFamily="34" charset="0"/>
            </a:endParaRPr>
          </a:p>
          <a:p>
            <a:endParaRPr lang="en-GB" sz="5400" dirty="0">
              <a:solidFill>
                <a:schemeClr val="accent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B0FD7B9-2459-4D74-A331-FD4317680EC7}"/>
              </a:ext>
            </a:extLst>
          </p:cNvPr>
          <p:cNvSpPr/>
          <p:nvPr userDrawn="1"/>
        </p:nvSpPr>
        <p:spPr>
          <a:xfrm>
            <a:off x="0" y="34417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</p:spTree>
    <p:extLst>
      <p:ext uri="{BB962C8B-B14F-4D97-AF65-F5344CB8AC3E}">
        <p14:creationId xmlns:p14="http://schemas.microsoft.com/office/powerpoint/2010/main" val="93537408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D951BEC-6D24-4D80-BDEE-5778CEABCB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4344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t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34FCB8-5B5F-47BB-B15D-2E86DFDDD976}" type="datetime1">
              <a:rPr lang="ru-RU" smtClean="0"/>
              <a:t>22.12.2025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F9E27A2-87EC-45AA-902D-31AA918DD4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7512" y="6530073"/>
            <a:ext cx="80710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JOC 18 March 2014 </a:t>
            </a:r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02A44DB-F395-4A25-91A5-3D41C0F9E3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75609" y="64552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Picture 5"/>
          <p:cNvPicPr/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39490645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7C981FE-A801-4FF1-8F20-E5072BE117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832023"/>
          </a:xfrm>
          <a:prstGeom prst="rect">
            <a:avLst/>
          </a:prstGeom>
        </p:spPr>
        <p:txBody>
          <a:bodyPr/>
          <a:lstStyle>
            <a:lvl1pPr>
              <a:defRPr sz="3200" b="0" cap="none" spc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6" name="Segnaposto piè di pagina 2">
            <a:extLst>
              <a:ext uri="{FF2B5EF4-FFF2-40B4-BE49-F238E27FC236}">
                <a16:creationId xmlns:a16="http://schemas.microsoft.com/office/drawing/2014/main" id="{03937854-B971-4785-B88B-DBE80A1539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GB" sz="800"/>
              <a:t>JOC 18 March 2014 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361182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838200"/>
            <a:ext cx="12192000" cy="1588"/>
          </a:xfrm>
          <a:prstGeom prst="line">
            <a:avLst/>
          </a:prstGeom>
          <a:ln>
            <a:solidFill>
              <a:srgbClr val="00B5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09599" y="1066803"/>
            <a:ext cx="11121292" cy="4648201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8EB068-28A6-4297-88D5-DA61B3C42265}" type="datetime1">
              <a:rPr lang="ru-RU" smtClean="0"/>
              <a:t>22.12.2025</a:t>
            </a:fld>
            <a:r>
              <a:rPr lang="en-US"/>
              <a:t>29/01/2014</a:t>
            </a:r>
            <a:endParaRPr lang="en-US">
              <a:solidFill>
                <a:srgbClr val="7F7F7F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JOC 18 March 2014</a:t>
            </a:r>
          </a:p>
          <a:p>
            <a:pPr>
              <a:defRPr/>
            </a:pPr>
            <a:endParaRPr lang="en-US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C1FD74-B1F5-4706-9D9D-63638243D132}" type="slidenum">
              <a:rPr lang="en-US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53543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8A0D947-5931-4227-AE62-D40527E3E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8" name="Picture Placeholder 20">
            <a:extLst>
              <a:ext uri="{FF2B5EF4-FFF2-40B4-BE49-F238E27FC236}">
                <a16:creationId xmlns:a16="http://schemas.microsoft.com/office/drawing/2014/main" id="{96AD8E23-45D7-4015-82F4-4F1D08D2ECEE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8093A54E-85BE-4508-BF9A-913B28F2A189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31980FD1-C947-46A3-8D90-A079E14193C0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6C15E9EB-3445-41FE-AEDA-28F5B40B63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15863150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D951BEC-6D24-4D80-BDEE-5778CEABCB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4344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t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877FD6-306E-4787-AC20-4F0061D7C2B5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F9E27A2-87EC-45AA-902D-31AA918DD4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7512" y="6530073"/>
            <a:ext cx="80710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CONFIDENTIAL                                                                                                             KARACHAGANAK PETROLEUM OPERATING B.V.</a:t>
            </a:r>
            <a:endParaRPr lang="en-GB" dirty="0"/>
          </a:p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02A44DB-F395-4A25-91A5-3D41C0F9E3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75609" y="64552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Content Placeholder 7">
            <a:extLst>
              <a:ext uri="{FF2B5EF4-FFF2-40B4-BE49-F238E27FC236}">
                <a16:creationId xmlns:a16="http://schemas.microsoft.com/office/drawing/2014/main" id="{8264A752-70D9-434A-94B7-FF2C86E32A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76136EA-776E-4BBF-B0C3-A2681D1066F7}"/>
              </a:ext>
            </a:extLst>
          </p:cNvPr>
          <p:cNvSpPr/>
          <p:nvPr userDrawn="1"/>
        </p:nvSpPr>
        <p:spPr>
          <a:xfrm>
            <a:off x="-1" y="4244083"/>
            <a:ext cx="9757038" cy="1536700"/>
          </a:xfrm>
          <a:prstGeom prst="rect">
            <a:avLst/>
          </a:prstGeom>
          <a:solidFill>
            <a:srgbClr val="00ABC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0FE704E-4644-43BF-B6A7-320FC061E47B}"/>
              </a:ext>
            </a:extLst>
          </p:cNvPr>
          <p:cNvSpPr/>
          <p:nvPr userDrawn="1"/>
        </p:nvSpPr>
        <p:spPr>
          <a:xfrm>
            <a:off x="-1" y="5765296"/>
            <a:ext cx="8089643" cy="126853"/>
          </a:xfrm>
          <a:prstGeom prst="rect">
            <a:avLst/>
          </a:prstGeom>
          <a:solidFill>
            <a:srgbClr val="FBD741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25D9C2-03A7-4921-A754-89324102A227}"/>
              </a:ext>
            </a:extLst>
          </p:cNvPr>
          <p:cNvSpPr/>
          <p:nvPr userDrawn="1"/>
        </p:nvSpPr>
        <p:spPr>
          <a:xfrm>
            <a:off x="613037" y="5726867"/>
            <a:ext cx="215475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/>
              <a:t>© 2021 Karachaganak Petroleum Operating </a:t>
            </a:r>
            <a:r>
              <a:rPr lang="en-GB" sz="800" dirty="0" err="1"/>
              <a:t>b.v</a:t>
            </a:r>
            <a:endParaRPr lang="en-GB" sz="800" dirty="0"/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E10B9D07-1445-4D84-B94A-B4A83DA4509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28599" y="4731905"/>
            <a:ext cx="8848726" cy="9521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pCom/ConCom/JOC and/or any other external/internal meetings/forums/sessions </a:t>
            </a:r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95753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21.xml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theme" Target="../theme/theme10.xml"/><Relationship Id="rId5" Type="http://schemas.openxmlformats.org/officeDocument/2006/relationships/slideLayout" Target="../slideLayouts/slideLayout119.xml"/><Relationship Id="rId15" Type="http://schemas.openxmlformats.org/officeDocument/2006/relationships/image" Target="../media/image11.png"/><Relationship Id="rId10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Relationship Id="rId14" Type="http://schemas.openxmlformats.org/officeDocument/2006/relationships/image" Target="../media/image15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12" Type="http://schemas.openxmlformats.org/officeDocument/2006/relationships/theme" Target="../theme/theme11.xml"/><Relationship Id="rId17" Type="http://schemas.openxmlformats.org/officeDocument/2006/relationships/image" Target="../media/image19.png"/><Relationship Id="rId2" Type="http://schemas.openxmlformats.org/officeDocument/2006/relationships/slideLayout" Target="../slideLayouts/slideLayout126.xml"/><Relationship Id="rId16" Type="http://schemas.openxmlformats.org/officeDocument/2006/relationships/image" Target="../media/image18.png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29.xml"/><Relationship Id="rId15" Type="http://schemas.openxmlformats.org/officeDocument/2006/relationships/image" Target="../media/image17.emf"/><Relationship Id="rId10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Relationship Id="rId14" Type="http://schemas.openxmlformats.org/officeDocument/2006/relationships/oleObject" Target="../embeddings/oleObject1.bin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slideLayout" Target="../slideLayouts/slideLayout148.xml"/><Relationship Id="rId18" Type="http://schemas.openxmlformats.org/officeDocument/2006/relationships/theme" Target="../theme/theme12.xml"/><Relationship Id="rId3" Type="http://schemas.openxmlformats.org/officeDocument/2006/relationships/slideLayout" Target="../slideLayouts/slideLayout138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142.xml"/><Relationship Id="rId12" Type="http://schemas.openxmlformats.org/officeDocument/2006/relationships/slideLayout" Target="../slideLayouts/slideLayout147.xml"/><Relationship Id="rId17" Type="http://schemas.openxmlformats.org/officeDocument/2006/relationships/slideLayout" Target="../slideLayouts/slideLayout152.xml"/><Relationship Id="rId2" Type="http://schemas.openxmlformats.org/officeDocument/2006/relationships/slideLayout" Target="../slideLayouts/slideLayout137.xml"/><Relationship Id="rId16" Type="http://schemas.openxmlformats.org/officeDocument/2006/relationships/slideLayout" Target="../slideLayouts/slideLayout151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0.xml"/><Relationship Id="rId15" Type="http://schemas.openxmlformats.org/officeDocument/2006/relationships/slideLayout" Target="../slideLayouts/slideLayout150.xml"/><Relationship Id="rId10" Type="http://schemas.openxmlformats.org/officeDocument/2006/relationships/slideLayout" Target="../slideLayouts/slideLayout145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slideLayout" Target="../slideLayouts/slideLayout149.xml"/><Relationship Id="rId22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15.xml"/><Relationship Id="rId16" Type="http://schemas.openxmlformats.org/officeDocument/2006/relationships/theme" Target="../theme/theme2.xml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0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image" Target="../media/image9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44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image" Target="../media/image4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image" Target="../media/image11.png"/><Relationship Id="rId2" Type="http://schemas.openxmlformats.org/officeDocument/2006/relationships/slideLayout" Target="../slideLayouts/slideLayout50.xml"/><Relationship Id="rId16" Type="http://schemas.openxmlformats.org/officeDocument/2006/relationships/image" Target="../media/image10.png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9.png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image" Target="../media/image8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26" Type="http://schemas.openxmlformats.org/officeDocument/2006/relationships/slideLayout" Target="../slideLayouts/slideLayout86.xml"/><Relationship Id="rId3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81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5" Type="http://schemas.openxmlformats.org/officeDocument/2006/relationships/slideLayout" Target="../slideLayouts/slideLayout85.xml"/><Relationship Id="rId33" Type="http://schemas.openxmlformats.org/officeDocument/2006/relationships/image" Target="../media/image11.png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slideLayout" Target="../slideLayouts/slideLayout80.xml"/><Relationship Id="rId29" Type="http://schemas.openxmlformats.org/officeDocument/2006/relationships/theme" Target="../theme/theme6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24" Type="http://schemas.openxmlformats.org/officeDocument/2006/relationships/slideLayout" Target="../slideLayouts/slideLayout84.xml"/><Relationship Id="rId32" Type="http://schemas.openxmlformats.org/officeDocument/2006/relationships/image" Target="../media/image10.png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83.xml"/><Relationship Id="rId28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79.xml"/><Relationship Id="rId31" Type="http://schemas.openxmlformats.org/officeDocument/2006/relationships/image" Target="../media/image9.png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slideLayout" Target="../slideLayouts/slideLayout82.xml"/><Relationship Id="rId27" Type="http://schemas.openxmlformats.org/officeDocument/2006/relationships/slideLayout" Target="../slideLayouts/slideLayout87.xml"/><Relationship Id="rId30" Type="http://schemas.openxmlformats.org/officeDocument/2006/relationships/image" Target="../media/image8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93.xml"/><Relationship Id="rId15" Type="http://schemas.openxmlformats.org/officeDocument/2006/relationships/image" Target="../media/image11.png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image" Target="../media/image15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image" Target="../media/image15.png"/><Relationship Id="rId3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105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image" Target="../media/image8.png"/><Relationship Id="rId5" Type="http://schemas.openxmlformats.org/officeDocument/2006/relationships/slideLayout" Target="../slideLayouts/slideLayout103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image" Target="../media/image11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image" Target="../media/image15.png"/><Relationship Id="rId5" Type="http://schemas.openxmlformats.org/officeDocument/2006/relationships/slideLayout" Target="../slideLayouts/slideLayout112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111.xml"/><Relationship Id="rId9" Type="http://schemas.openxmlformats.org/officeDocument/2006/relationships/image" Target="../media/image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B015285-F585-4AD8-B33B-E2B8DB882FD1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1416" y="261890"/>
            <a:ext cx="681038" cy="513176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258B99DF-C0FD-4160-8914-D3FCE4E30D6B}"/>
              </a:ext>
            </a:extLst>
          </p:cNvPr>
          <p:cNvGrpSpPr/>
          <p:nvPr userDrawn="1"/>
        </p:nvGrpSpPr>
        <p:grpSpPr>
          <a:xfrm>
            <a:off x="0" y="836093"/>
            <a:ext cx="12192000" cy="61216"/>
            <a:chOff x="0" y="836092"/>
            <a:chExt cx="12192000" cy="61216"/>
          </a:xfrm>
        </p:grpSpPr>
        <p:pic>
          <p:nvPicPr>
            <p:cNvPr id="6" name="Picture 2">
              <a:extLst>
                <a:ext uri="{FF2B5EF4-FFF2-40B4-BE49-F238E27FC236}">
                  <a16:creationId xmlns:a16="http://schemas.microsoft.com/office/drawing/2014/main" id="{02B401F8-10A2-42B8-BD9B-F9A29419C9C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836092"/>
              <a:ext cx="10919481" cy="61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2">
              <a:extLst>
                <a:ext uri="{FF2B5EF4-FFF2-40B4-BE49-F238E27FC236}">
                  <a16:creationId xmlns:a16="http://schemas.microsoft.com/office/drawing/2014/main" id="{CFB6FC4E-6E97-4F5A-9E72-EC854506870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rot="10800000">
              <a:off x="8866262" y="836092"/>
              <a:ext cx="3325738" cy="61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2D0EF3A3-12BE-486A-94B5-303CDD1D57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  <p:pic>
        <p:nvPicPr>
          <p:cNvPr id="10" name="Immagine 8">
            <a:extLst>
              <a:ext uri="{FF2B5EF4-FFF2-40B4-BE49-F238E27FC236}">
                <a16:creationId xmlns:a16="http://schemas.microsoft.com/office/drawing/2014/main" id="{7AFA2A1E-9CCA-4718-A393-777A9DBECB61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74834B9-57F4-E5FD-DBEE-E40DD5B00D09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295063" y="63500"/>
            <a:ext cx="865187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200">
                <a:solidFill>
                  <a:srgbClr val="0000FF">
                    <a:alpha val="50000"/>
                  </a:srgbClr>
                </a:solidFill>
                <a:latin typeface="Aptos" panose="020B000402020202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951220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2" r:id="rId13"/>
  </p:sldLayoutIdLst>
  <p:hf sldNum="0" hdr="0" ftr="0" dt="0"/>
  <p:txStyles>
    <p:titleStyle>
      <a:lvl1pPr algn="ctr" defTabSz="1219170" rtl="0" eaLnBrk="1" latinLnBrk="1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1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1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1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1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DC2D88-F756-409E-A6AD-5FB8AC61F7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4344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t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2A8635-A0BB-4D86-8B82-E94776279AB9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0DAF9-2AB2-4D4C-86E8-4CB3AEEC01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7512" y="6530073"/>
            <a:ext cx="80710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CONFIDENTIAL                                                                                                             KARACHAGANAK PETROLEUM OPERATING B.V.</a:t>
            </a:r>
            <a:endParaRPr lang="en-GB" dirty="0"/>
          </a:p>
          <a:p>
            <a:r>
              <a:rPr lang="en-US" dirty="0"/>
              <a:t> 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4740D2D-805D-44C1-82BA-EB5BB699F251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875" y="441940"/>
            <a:ext cx="610144" cy="459756"/>
          </a:xfrm>
          <a:prstGeom prst="rect">
            <a:avLst/>
          </a:prstGeom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809166C6-DBB6-4FC3-BF3D-758B518F65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88" y="978966"/>
            <a:ext cx="8185151" cy="4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>
            <a:extLst>
              <a:ext uri="{FF2B5EF4-FFF2-40B4-BE49-F238E27FC236}">
                <a16:creationId xmlns:a16="http://schemas.microsoft.com/office/drawing/2014/main" id="{32B005A1-6EA9-4A9A-8612-7FFAFB64635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0800000">
            <a:off x="6853614" y="979133"/>
            <a:ext cx="5338385" cy="45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Immagine 8">
            <a:extLst>
              <a:ext uri="{FF2B5EF4-FFF2-40B4-BE49-F238E27FC236}">
                <a16:creationId xmlns:a16="http://schemas.microsoft.com/office/drawing/2014/main" id="{DB588E73-ED99-458A-807D-1CAF280B27FD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95199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E87CC8-56A0-4A49-8ECF-82B905EE15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75609" y="64552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F4668D-8714-4677-6794-B7348AECFCB7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295063" y="63500"/>
            <a:ext cx="865187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200">
                <a:solidFill>
                  <a:srgbClr val="0000FF">
                    <a:alpha val="50000"/>
                  </a:srgbClr>
                </a:solidFill>
                <a:latin typeface="Aptos" panose="020B000402020202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4103479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1" r:id="rId1"/>
    <p:sldLayoutId id="2147483962" r:id="rId2"/>
    <p:sldLayoutId id="2147483963" r:id="rId3"/>
    <p:sldLayoutId id="2147483964" r:id="rId4"/>
    <p:sldLayoutId id="2147483965" r:id="rId5"/>
    <p:sldLayoutId id="2147483966" r:id="rId6"/>
    <p:sldLayoutId id="2147483967" r:id="rId7"/>
    <p:sldLayoutId id="2147483969" r:id="rId8"/>
    <p:sldLayoutId id="2147483970" r:id="rId9"/>
    <p:sldLayoutId id="2147483971" r:id="rId1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8F58BF8-1A1B-BE07-2378-B74601A51C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84" imgH="486" progId="TCLayout.ActiveDocument.1">
                  <p:embed/>
                </p:oleObj>
              </mc:Choice>
              <mc:Fallback>
                <p:oleObj name="think-cell Slide" r:id="rId14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F58BF8-1A1B-BE07-2378-B74601A51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6562F73-A8CF-4AEC-957D-5ADF3A979B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50057" y="65019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3AD7C01-B994-4A99-BE98-CE15A6753C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Segnaposto piè di pagina 2">
            <a:extLst>
              <a:ext uri="{FF2B5EF4-FFF2-40B4-BE49-F238E27FC236}">
                <a16:creationId xmlns:a16="http://schemas.microsoft.com/office/drawing/2014/main" id="{3BB5AEEB-66CD-4D9D-9CC4-1B473620C8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ru-RU" sz="800"/>
              <a:t>DD/MM/YY                                                                                                                                                                                            КОНФИДЕНЦИАЛЬНО                                                                                                                         КАРАЧАГАНАК ПЕТРОЛИУМ ОПЕРЕЙТИНГ Б.В.</a:t>
            </a:r>
            <a:endParaRPr lang="en-GB" sz="8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148140-82EE-434D-8713-516477D451D6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875" y="441940"/>
            <a:ext cx="610144" cy="459756"/>
          </a:xfrm>
          <a:prstGeom prst="rect">
            <a:avLst/>
          </a:prstGeom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A5452C74-CB5B-4186-ADFB-3129847B195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978966"/>
            <a:ext cx="8185151" cy="4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00AD0064-D627-44BE-9211-EA388FE2E2F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779" t="4" b="362"/>
          <a:stretch/>
        </p:blipFill>
        <p:spPr bwMode="auto">
          <a:xfrm rot="10800000">
            <a:off x="6853614" y="979133"/>
            <a:ext cx="5338385" cy="45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3AED2D5-71A5-D2CE-320B-F775217C8370}"/>
              </a:ext>
            </a:extLst>
          </p:cNvPr>
          <p:cNvSpPr/>
          <p:nvPr userDrawn="1"/>
        </p:nvSpPr>
        <p:spPr>
          <a:xfrm>
            <a:off x="-655320" y="1330325"/>
            <a:ext cx="396240" cy="365125"/>
          </a:xfrm>
          <a:prstGeom prst="rect">
            <a:avLst/>
          </a:prstGeom>
          <a:solidFill>
            <a:srgbClr val="00AB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4163DDA-DFFD-A16E-72F3-4615F7913FEF}"/>
              </a:ext>
            </a:extLst>
          </p:cNvPr>
          <p:cNvSpPr/>
          <p:nvPr userDrawn="1"/>
        </p:nvSpPr>
        <p:spPr>
          <a:xfrm>
            <a:off x="-655320" y="1868805"/>
            <a:ext cx="396240" cy="365125"/>
          </a:xfrm>
          <a:prstGeom prst="rect">
            <a:avLst/>
          </a:prstGeom>
          <a:solidFill>
            <a:srgbClr val="E8C9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6B3E57D-2C58-29BC-76EC-D6A4AA923BAD}"/>
              </a:ext>
            </a:extLst>
          </p:cNvPr>
          <p:cNvSpPr/>
          <p:nvPr userDrawn="1"/>
        </p:nvSpPr>
        <p:spPr>
          <a:xfrm>
            <a:off x="-655320" y="2407285"/>
            <a:ext cx="396240" cy="36512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378F268-A243-AC46-4452-E1E8835457F6}"/>
              </a:ext>
            </a:extLst>
          </p:cNvPr>
          <p:cNvSpPr/>
          <p:nvPr userDrawn="1"/>
        </p:nvSpPr>
        <p:spPr>
          <a:xfrm>
            <a:off x="-655320" y="2945765"/>
            <a:ext cx="396240" cy="365125"/>
          </a:xfrm>
          <a:prstGeom prst="rect">
            <a:avLst/>
          </a:prstGeom>
          <a:solidFill>
            <a:srgbClr val="005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E705ABE-8C5D-3462-914D-6C542E636CE2}"/>
              </a:ext>
            </a:extLst>
          </p:cNvPr>
          <p:cNvSpPr/>
          <p:nvPr userDrawn="1"/>
        </p:nvSpPr>
        <p:spPr>
          <a:xfrm>
            <a:off x="-655320" y="3484245"/>
            <a:ext cx="396240" cy="365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73BC714-8662-CCBE-A1A6-950D9E421D30}"/>
              </a:ext>
            </a:extLst>
          </p:cNvPr>
          <p:cNvSpPr/>
          <p:nvPr userDrawn="1"/>
        </p:nvSpPr>
        <p:spPr>
          <a:xfrm>
            <a:off x="-655320" y="4022725"/>
            <a:ext cx="396240" cy="365125"/>
          </a:xfrm>
          <a:prstGeom prst="rect">
            <a:avLst/>
          </a:prstGeom>
          <a:solidFill>
            <a:srgbClr val="FBD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F6E5E84-D21F-7ECE-4815-EDD83D3FA96E}"/>
              </a:ext>
            </a:extLst>
          </p:cNvPr>
          <p:cNvSpPr/>
          <p:nvPr userDrawn="1"/>
        </p:nvSpPr>
        <p:spPr>
          <a:xfrm>
            <a:off x="-655320" y="4611530"/>
            <a:ext cx="396240" cy="36512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77435F6-3E3C-6401-C692-2270C51D9F73}"/>
              </a:ext>
            </a:extLst>
          </p:cNvPr>
          <p:cNvSpPr/>
          <p:nvPr userDrawn="1"/>
        </p:nvSpPr>
        <p:spPr>
          <a:xfrm>
            <a:off x="-655320" y="5200335"/>
            <a:ext cx="396240" cy="365125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9282D39-8E76-D42D-B197-F107E273C43D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295063" y="63500"/>
            <a:ext cx="865187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200">
                <a:solidFill>
                  <a:srgbClr val="0000FF">
                    <a:alpha val="50000"/>
                  </a:srgbClr>
                </a:solidFill>
                <a:latin typeface="Aptos" panose="020B000402020202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144350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5" r:id="rId1"/>
    <p:sldLayoutId id="2147483976" r:id="rId2"/>
    <p:sldLayoutId id="2147483977" r:id="rId3"/>
    <p:sldLayoutId id="2147483978" r:id="rId4"/>
    <p:sldLayoutId id="2147483979" r:id="rId5"/>
    <p:sldLayoutId id="2147483980" r:id="rId6"/>
    <p:sldLayoutId id="2147483981" r:id="rId7"/>
    <p:sldLayoutId id="2147483982" r:id="rId8"/>
    <p:sldLayoutId id="2147483983" r:id="rId9"/>
    <p:sldLayoutId id="2147483984" r:id="rId10"/>
    <p:sldLayoutId id="2147483985" r:id="rId11"/>
  </p:sldLayoutIdLst>
  <p:hf hdr="0" dt="0"/>
  <p:txStyles>
    <p:titleStyle>
      <a:lvl1pPr algn="ctr" defTabSz="1219170" rtl="0" eaLnBrk="1" latinLnBrk="1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1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1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1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1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B015285-F585-4AD8-B33B-E2B8DB882FD1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1416" y="261890"/>
            <a:ext cx="681038" cy="513176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258B99DF-C0FD-4160-8914-D3FCE4E30D6B}"/>
              </a:ext>
            </a:extLst>
          </p:cNvPr>
          <p:cNvGrpSpPr/>
          <p:nvPr userDrawn="1"/>
        </p:nvGrpSpPr>
        <p:grpSpPr>
          <a:xfrm>
            <a:off x="0" y="836093"/>
            <a:ext cx="12192000" cy="61216"/>
            <a:chOff x="0" y="836092"/>
            <a:chExt cx="12192000" cy="61216"/>
          </a:xfrm>
        </p:grpSpPr>
        <p:pic>
          <p:nvPicPr>
            <p:cNvPr id="6" name="Picture 2">
              <a:extLst>
                <a:ext uri="{FF2B5EF4-FFF2-40B4-BE49-F238E27FC236}">
                  <a16:creationId xmlns:a16="http://schemas.microsoft.com/office/drawing/2014/main" id="{02B401F8-10A2-42B8-BD9B-F9A29419C9C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836092"/>
              <a:ext cx="10919481" cy="61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2">
              <a:extLst>
                <a:ext uri="{FF2B5EF4-FFF2-40B4-BE49-F238E27FC236}">
                  <a16:creationId xmlns:a16="http://schemas.microsoft.com/office/drawing/2014/main" id="{CFB6FC4E-6E97-4F5A-9E72-EC854506870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rot="10800000">
              <a:off x="8866262" y="836092"/>
              <a:ext cx="3325738" cy="61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2D0EF3A3-12BE-486A-94B5-303CDD1D57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  <p:pic>
        <p:nvPicPr>
          <p:cNvPr id="10" name="Immagine 8">
            <a:extLst>
              <a:ext uri="{FF2B5EF4-FFF2-40B4-BE49-F238E27FC236}">
                <a16:creationId xmlns:a16="http://schemas.microsoft.com/office/drawing/2014/main" id="{7AFA2A1E-9CCA-4718-A393-777A9DBECB61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C299FEE-1D8A-DCCA-96A9-03D8CEEFA6E9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295063" y="63500"/>
            <a:ext cx="865187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200">
                <a:solidFill>
                  <a:srgbClr val="0000FF">
                    <a:alpha val="50000"/>
                  </a:srgbClr>
                </a:solidFill>
                <a:latin typeface="Aptos" panose="020B000402020202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20985100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8" r:id="rId1"/>
    <p:sldLayoutId id="2147483989" r:id="rId2"/>
    <p:sldLayoutId id="2147483990" r:id="rId3"/>
    <p:sldLayoutId id="2147483991" r:id="rId4"/>
    <p:sldLayoutId id="2147483992" r:id="rId5"/>
    <p:sldLayoutId id="2147483993" r:id="rId6"/>
    <p:sldLayoutId id="2147483994" r:id="rId7"/>
    <p:sldLayoutId id="2147483995" r:id="rId8"/>
    <p:sldLayoutId id="2147483996" r:id="rId9"/>
    <p:sldLayoutId id="2147483997" r:id="rId10"/>
    <p:sldLayoutId id="2147483998" r:id="rId11"/>
    <p:sldLayoutId id="2147483999" r:id="rId12"/>
    <p:sldLayoutId id="2147484000" r:id="rId13"/>
    <p:sldLayoutId id="2147484001" r:id="rId14"/>
    <p:sldLayoutId id="2147484002" r:id="rId15"/>
    <p:sldLayoutId id="2147484003" r:id="rId16"/>
    <p:sldLayoutId id="2147484004" r:id="rId17"/>
  </p:sldLayoutIdLst>
  <p:hf sldNum="0" hdr="0" ftr="0" dt="0"/>
  <p:txStyles>
    <p:titleStyle>
      <a:lvl1pPr algn="ctr" defTabSz="1219170" rtl="0" eaLnBrk="1" latinLnBrk="1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1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1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1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1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B015285-F585-4AD8-B33B-E2B8DB882FD1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1416" y="261890"/>
            <a:ext cx="681038" cy="513176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258B99DF-C0FD-4160-8914-D3FCE4E30D6B}"/>
              </a:ext>
            </a:extLst>
          </p:cNvPr>
          <p:cNvGrpSpPr/>
          <p:nvPr userDrawn="1"/>
        </p:nvGrpSpPr>
        <p:grpSpPr>
          <a:xfrm>
            <a:off x="0" y="836093"/>
            <a:ext cx="12192000" cy="61216"/>
            <a:chOff x="0" y="836092"/>
            <a:chExt cx="12192000" cy="61216"/>
          </a:xfrm>
        </p:grpSpPr>
        <p:pic>
          <p:nvPicPr>
            <p:cNvPr id="6" name="Picture 2">
              <a:extLst>
                <a:ext uri="{FF2B5EF4-FFF2-40B4-BE49-F238E27FC236}">
                  <a16:creationId xmlns:a16="http://schemas.microsoft.com/office/drawing/2014/main" id="{02B401F8-10A2-42B8-BD9B-F9A29419C9C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836092"/>
              <a:ext cx="10919481" cy="61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2">
              <a:extLst>
                <a:ext uri="{FF2B5EF4-FFF2-40B4-BE49-F238E27FC236}">
                  <a16:creationId xmlns:a16="http://schemas.microsoft.com/office/drawing/2014/main" id="{CFB6FC4E-6E97-4F5A-9E72-EC854506870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rot="10800000">
              <a:off x="8866262" y="836092"/>
              <a:ext cx="3325738" cy="61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2D0EF3A3-12BE-486A-94B5-303CDD1D57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  <p:pic>
        <p:nvPicPr>
          <p:cNvPr id="10" name="Immagine 8">
            <a:extLst>
              <a:ext uri="{FF2B5EF4-FFF2-40B4-BE49-F238E27FC236}">
                <a16:creationId xmlns:a16="http://schemas.microsoft.com/office/drawing/2014/main" id="{7AFA2A1E-9CCA-4718-A393-777A9DBECB61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51F87BB-8FB7-9162-DF61-9DFB3A7D039A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295063" y="63500"/>
            <a:ext cx="865187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200">
                <a:solidFill>
                  <a:srgbClr val="0000FF">
                    <a:alpha val="50000"/>
                  </a:srgbClr>
                </a:solidFill>
                <a:latin typeface="Aptos" panose="020B000402020202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4232607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</p:sldLayoutIdLst>
  <p:hf sldNum="0" hdr="0" ftr="0" dt="0"/>
  <p:txStyles>
    <p:titleStyle>
      <a:lvl1pPr algn="ctr" defTabSz="1219170" rtl="0" eaLnBrk="1" latinLnBrk="1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1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1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1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1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DC2D88-F756-409E-A6AD-5FB8AC61F7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4344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t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2A8635-A0BB-4D86-8B82-E94776279AB9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0DAF9-2AB2-4D4C-86E8-4CB3AEEC01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7512" y="6530073"/>
            <a:ext cx="80710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4740D2D-805D-44C1-82BA-EB5BB699F251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875" y="441940"/>
            <a:ext cx="610144" cy="459756"/>
          </a:xfrm>
          <a:prstGeom prst="rect">
            <a:avLst/>
          </a:prstGeom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809166C6-DBB6-4FC3-BF3D-758B518F65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88" y="978966"/>
            <a:ext cx="8185151" cy="4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>
            <a:extLst>
              <a:ext uri="{FF2B5EF4-FFF2-40B4-BE49-F238E27FC236}">
                <a16:creationId xmlns:a16="http://schemas.microsoft.com/office/drawing/2014/main" id="{32B005A1-6EA9-4A9A-8612-7FFAFB64635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0800000">
            <a:off x="6853614" y="979133"/>
            <a:ext cx="5338385" cy="45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Immagine 8">
            <a:extLst>
              <a:ext uri="{FF2B5EF4-FFF2-40B4-BE49-F238E27FC236}">
                <a16:creationId xmlns:a16="http://schemas.microsoft.com/office/drawing/2014/main" id="{DB588E73-ED99-458A-807D-1CAF280B27FD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95199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E87CC8-56A0-4A49-8ECF-82B905EE15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75609" y="64552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C8EE49-AA31-5E68-43A9-1E527B5AD26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295063" y="63500"/>
            <a:ext cx="865187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200">
                <a:solidFill>
                  <a:srgbClr val="0000FF">
                    <a:alpha val="50000"/>
                  </a:srgbClr>
                </a:solidFill>
                <a:latin typeface="Aptos" panose="020B000402020202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3757047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1" r:id="rId7"/>
    <p:sldLayoutId id="2147483712" r:id="rId8"/>
    <p:sldLayoutId id="2147483713" r:id="rId9"/>
    <p:sldLayoutId id="2147483718" r:id="rId10"/>
    <p:sldLayoutId id="2147483719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B015285-F585-4AD8-B33B-E2B8DB882FD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1416" y="261890"/>
            <a:ext cx="681038" cy="513176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258B99DF-C0FD-4160-8914-D3FCE4E30D6B}"/>
              </a:ext>
            </a:extLst>
          </p:cNvPr>
          <p:cNvGrpSpPr/>
          <p:nvPr userDrawn="1"/>
        </p:nvGrpSpPr>
        <p:grpSpPr>
          <a:xfrm>
            <a:off x="0" y="836093"/>
            <a:ext cx="12192000" cy="61216"/>
            <a:chOff x="0" y="836092"/>
            <a:chExt cx="12192000" cy="61216"/>
          </a:xfrm>
        </p:grpSpPr>
        <p:pic>
          <p:nvPicPr>
            <p:cNvPr id="6" name="Picture 2">
              <a:extLst>
                <a:ext uri="{FF2B5EF4-FFF2-40B4-BE49-F238E27FC236}">
                  <a16:creationId xmlns:a16="http://schemas.microsoft.com/office/drawing/2014/main" id="{02B401F8-10A2-42B8-BD9B-F9A29419C9C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836092"/>
              <a:ext cx="10919481" cy="61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2">
              <a:extLst>
                <a:ext uri="{FF2B5EF4-FFF2-40B4-BE49-F238E27FC236}">
                  <a16:creationId xmlns:a16="http://schemas.microsoft.com/office/drawing/2014/main" id="{CFB6FC4E-6E97-4F5A-9E72-EC854506870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rot="10800000">
              <a:off x="8866262" y="836092"/>
              <a:ext cx="3325738" cy="61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2D0EF3A3-12BE-486A-94B5-303CDD1D57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21963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6717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GB" sz="800"/>
              <a:t>DD/MM/YYYY                    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KARACHAGANAK PETROLEUM OPERATING B.V</a:t>
            </a:r>
            <a:endParaRPr lang="en-GB" sz="800" dirty="0"/>
          </a:p>
        </p:txBody>
      </p:sp>
      <p:pic>
        <p:nvPicPr>
          <p:cNvPr id="8" name="Immagine 8">
            <a:extLst>
              <a:ext uri="{FF2B5EF4-FFF2-40B4-BE49-F238E27FC236}">
                <a16:creationId xmlns:a16="http://schemas.microsoft.com/office/drawing/2014/main" id="{8A49ACF5-7347-4CE5-9D13-95C9611FA7F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0EE3617-553E-B37B-C0C8-F0B94B8CDA09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295063" y="63500"/>
            <a:ext cx="865187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200">
                <a:solidFill>
                  <a:srgbClr val="0000FF">
                    <a:alpha val="50000"/>
                  </a:srgbClr>
                </a:solidFill>
                <a:latin typeface="Aptos" panose="020B000402020202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354792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</p:sldLayoutIdLst>
  <p:hf hdr="0" dt="0"/>
  <p:txStyles>
    <p:titleStyle>
      <a:lvl1pPr algn="ctr" defTabSz="1219170" rtl="0" eaLnBrk="1" latinLnBrk="1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1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1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1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1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DC2D88-F756-409E-A6AD-5FB8AC61F7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4344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t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2A8635-A0BB-4D86-8B82-E94776279AB9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0DAF9-2AB2-4D4C-86E8-4CB3AEEC01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7512" y="6530073"/>
            <a:ext cx="80710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4740D2D-805D-44C1-82BA-EB5BB699F251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875" y="441940"/>
            <a:ext cx="610144" cy="459756"/>
          </a:xfrm>
          <a:prstGeom prst="rect">
            <a:avLst/>
          </a:prstGeom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809166C6-DBB6-4FC3-BF3D-758B518F65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88" y="978966"/>
            <a:ext cx="8185151" cy="4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>
            <a:extLst>
              <a:ext uri="{FF2B5EF4-FFF2-40B4-BE49-F238E27FC236}">
                <a16:creationId xmlns:a16="http://schemas.microsoft.com/office/drawing/2014/main" id="{32B005A1-6EA9-4A9A-8612-7FFAFB64635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0800000">
            <a:off x="6853614" y="979133"/>
            <a:ext cx="5338385" cy="45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Immagine 8">
            <a:extLst>
              <a:ext uri="{FF2B5EF4-FFF2-40B4-BE49-F238E27FC236}">
                <a16:creationId xmlns:a16="http://schemas.microsoft.com/office/drawing/2014/main" id="{DB588E73-ED99-458A-807D-1CAF280B27FD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95199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E87CC8-56A0-4A49-8ECF-82B905EE15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75609" y="64552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6A8C83A-0BB0-66CD-5381-8AB32B7EFD8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295063" y="63500"/>
            <a:ext cx="865187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200">
                <a:solidFill>
                  <a:srgbClr val="0000FF">
                    <a:alpha val="50000"/>
                  </a:srgbClr>
                </a:solidFill>
                <a:latin typeface="Aptos" panose="020B000402020202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3020082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  <p:sldLayoutId id="2147483788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DC2D88-F756-409E-A6AD-5FB8AC61F7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4344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t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2A8635-A0BB-4D86-8B82-E94776279AB9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0DAF9-2AB2-4D4C-86E8-4CB3AEEC01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7512" y="6530073"/>
            <a:ext cx="80710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CONFIDENTIAL                                                                                                             KARACHAGANAK PETROLEUM OPERATING B.V.</a:t>
            </a:r>
            <a:endParaRPr lang="en-GB" dirty="0"/>
          </a:p>
          <a:p>
            <a:r>
              <a:rPr lang="en-US" dirty="0"/>
              <a:t> 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4740D2D-805D-44C1-82BA-EB5BB699F251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875" y="441940"/>
            <a:ext cx="610144" cy="459756"/>
          </a:xfrm>
          <a:prstGeom prst="rect">
            <a:avLst/>
          </a:prstGeom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809166C6-DBB6-4FC3-BF3D-758B518F65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88" y="978966"/>
            <a:ext cx="8185151" cy="4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>
            <a:extLst>
              <a:ext uri="{FF2B5EF4-FFF2-40B4-BE49-F238E27FC236}">
                <a16:creationId xmlns:a16="http://schemas.microsoft.com/office/drawing/2014/main" id="{32B005A1-6EA9-4A9A-8612-7FFAFB64635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0800000">
            <a:off x="6853614" y="979133"/>
            <a:ext cx="5338385" cy="45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Immagine 8">
            <a:extLst>
              <a:ext uri="{FF2B5EF4-FFF2-40B4-BE49-F238E27FC236}">
                <a16:creationId xmlns:a16="http://schemas.microsoft.com/office/drawing/2014/main" id="{DB588E73-ED99-458A-807D-1CAF280B27FD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95199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E87CC8-56A0-4A49-8ECF-82B905EE15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75609" y="64552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C947D36-9199-32F2-148F-4942FD6C4119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295063" y="63500"/>
            <a:ext cx="865187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200">
                <a:solidFill>
                  <a:srgbClr val="0000FF">
                    <a:alpha val="50000"/>
                  </a:srgbClr>
                </a:solidFill>
                <a:latin typeface="Aptos" panose="020B000402020202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1948907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  <p:sldLayoutId id="2147483801" r:id="rId12"/>
    <p:sldLayoutId id="2147483802" r:id="rId13"/>
    <p:sldLayoutId id="2147483803" r:id="rId14"/>
    <p:sldLayoutId id="2147483804" r:id="rId15"/>
    <p:sldLayoutId id="2147483805" r:id="rId16"/>
    <p:sldLayoutId id="2147483806" r:id="rId17"/>
    <p:sldLayoutId id="2147483807" r:id="rId18"/>
    <p:sldLayoutId id="2147483808" r:id="rId19"/>
    <p:sldLayoutId id="2147483809" r:id="rId20"/>
    <p:sldLayoutId id="2147483810" r:id="rId21"/>
    <p:sldLayoutId id="2147483811" r:id="rId22"/>
    <p:sldLayoutId id="2147483812" r:id="rId23"/>
    <p:sldLayoutId id="2147483813" r:id="rId24"/>
    <p:sldLayoutId id="2147483814" r:id="rId25"/>
    <p:sldLayoutId id="2147483815" r:id="rId26"/>
    <p:sldLayoutId id="2147483816" r:id="rId27"/>
    <p:sldLayoutId id="2147483817" r:id="rId2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DC2D88-F756-409E-A6AD-5FB8AC61F7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4344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t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DF802A-A1C5-4FC1-9E49-615634C044DA}" type="datetime1">
              <a:rPr lang="ru-RU" smtClean="0"/>
              <a:t>22.12.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0DAF9-2AB2-4D4C-86E8-4CB3AEEC01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7512" y="6530073"/>
            <a:ext cx="80710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JOC 18 March 2014 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4740D2D-805D-44C1-82BA-EB5BB699F251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875" y="441940"/>
            <a:ext cx="610144" cy="459756"/>
          </a:xfrm>
          <a:prstGeom prst="rect">
            <a:avLst/>
          </a:prstGeom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809166C6-DBB6-4FC3-BF3D-758B518F65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88" y="978966"/>
            <a:ext cx="8185151" cy="4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>
            <a:extLst>
              <a:ext uri="{FF2B5EF4-FFF2-40B4-BE49-F238E27FC236}">
                <a16:creationId xmlns:a16="http://schemas.microsoft.com/office/drawing/2014/main" id="{32B005A1-6EA9-4A9A-8612-7FFAFB64635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0800000">
            <a:off x="6853614" y="979133"/>
            <a:ext cx="5338385" cy="45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Immagine 8">
            <a:extLst>
              <a:ext uri="{FF2B5EF4-FFF2-40B4-BE49-F238E27FC236}">
                <a16:creationId xmlns:a16="http://schemas.microsoft.com/office/drawing/2014/main" id="{DB588E73-ED99-458A-807D-1CAF280B27FD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95199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E87CC8-56A0-4A49-8ECF-82B905EE15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75609" y="64552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53623E3-836E-46F3-E23B-D241696DB02B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295063" y="63500"/>
            <a:ext cx="865187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200">
                <a:solidFill>
                  <a:srgbClr val="0000FF">
                    <a:alpha val="50000"/>
                  </a:srgbClr>
                </a:solidFill>
                <a:latin typeface="Aptos" panose="020B000402020202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3238070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7" r:id="rId7"/>
    <p:sldLayoutId id="2147483828" r:id="rId8"/>
    <p:sldLayoutId id="2147483829" r:id="rId9"/>
    <p:sldLayoutId id="2147483830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DC2D88-F756-409E-A6AD-5FB8AC61F7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4344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t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2A8635-A0BB-4D86-8B82-E94776279AB9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0DAF9-2AB2-4D4C-86E8-4CB3AEEC01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7512" y="6530073"/>
            <a:ext cx="80710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CONFIDENTIAL                                                                                                             KARACHAGANAK PETROLEUM OPERATING B.V.</a:t>
            </a:r>
            <a:endParaRPr lang="en-GB" dirty="0"/>
          </a:p>
          <a:p>
            <a:r>
              <a:rPr lang="en-US" dirty="0"/>
              <a:t> 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4740D2D-805D-44C1-82BA-EB5BB699F25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875" y="441940"/>
            <a:ext cx="610144" cy="459756"/>
          </a:xfrm>
          <a:prstGeom prst="rect">
            <a:avLst/>
          </a:prstGeom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809166C6-DBB6-4FC3-BF3D-758B518F65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88" y="978966"/>
            <a:ext cx="8185151" cy="4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>
            <a:extLst>
              <a:ext uri="{FF2B5EF4-FFF2-40B4-BE49-F238E27FC236}">
                <a16:creationId xmlns:a16="http://schemas.microsoft.com/office/drawing/2014/main" id="{32B005A1-6EA9-4A9A-8612-7FFAFB64635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0800000">
            <a:off x="6853614" y="979133"/>
            <a:ext cx="5338385" cy="45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Immagine 8">
            <a:extLst>
              <a:ext uri="{FF2B5EF4-FFF2-40B4-BE49-F238E27FC236}">
                <a16:creationId xmlns:a16="http://schemas.microsoft.com/office/drawing/2014/main" id="{DB588E73-ED99-458A-807D-1CAF280B27FD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95199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E87CC8-56A0-4A49-8ECF-82B905EE15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75609" y="64552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276759B-EE14-AA3B-50E6-EE82B6DD1C15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295063" y="63500"/>
            <a:ext cx="865187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200">
                <a:solidFill>
                  <a:srgbClr val="0000FF">
                    <a:alpha val="50000"/>
                  </a:srgbClr>
                </a:solidFill>
                <a:latin typeface="Aptos" panose="020B000402020202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3595605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932" r:id="rId7"/>
    <p:sldLayoutId id="2147483933" r:id="rId8"/>
    <p:sldLayoutId id="2147483889" r:id="rId9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44740D2D-805D-44C1-82BA-EB5BB699F25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875" y="441940"/>
            <a:ext cx="610144" cy="459756"/>
          </a:xfrm>
          <a:prstGeom prst="rect">
            <a:avLst/>
          </a:prstGeom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809166C6-DBB6-4FC3-BF3D-758B518F65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88" y="978966"/>
            <a:ext cx="8185151" cy="4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>
            <a:extLst>
              <a:ext uri="{FF2B5EF4-FFF2-40B4-BE49-F238E27FC236}">
                <a16:creationId xmlns:a16="http://schemas.microsoft.com/office/drawing/2014/main" id="{32B005A1-6EA9-4A9A-8612-7FFAFB64635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0800000">
            <a:off x="6853614" y="979133"/>
            <a:ext cx="5338385" cy="45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C94CAB1-DDC3-18A3-D25C-56CB2BB5BCC3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295063" y="63500"/>
            <a:ext cx="865187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200">
                <a:solidFill>
                  <a:srgbClr val="0000FF">
                    <a:alpha val="50000"/>
                  </a:srgbClr>
                </a:solidFill>
                <a:latin typeface="Aptos" panose="020B000402020202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681211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01" r:id="rId4"/>
    <p:sldLayoutId id="2147483902" r:id="rId5"/>
    <p:sldLayoutId id="2147483903" r:id="rId6"/>
    <p:sldLayoutId id="2147483905" r:id="rId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13" Type="http://schemas.openxmlformats.org/officeDocument/2006/relationships/image" Target="../media/image33.jpg"/><Relationship Id="rId3" Type="http://schemas.openxmlformats.org/officeDocument/2006/relationships/image" Target="../media/image23.jpeg"/><Relationship Id="rId7" Type="http://schemas.openxmlformats.org/officeDocument/2006/relationships/image" Target="../media/image27.jpeg"/><Relationship Id="rId12" Type="http://schemas.openxmlformats.org/officeDocument/2006/relationships/image" Target="../media/image32.png"/><Relationship Id="rId17" Type="http://schemas.openxmlformats.org/officeDocument/2006/relationships/image" Target="../media/image37.jpe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6.png"/><Relationship Id="rId1" Type="http://schemas.openxmlformats.org/officeDocument/2006/relationships/slideLayout" Target="../slideLayouts/slideLayout105.xml"/><Relationship Id="rId6" Type="http://schemas.openxmlformats.org/officeDocument/2006/relationships/image" Target="../media/image26.png"/><Relationship Id="rId11" Type="http://schemas.openxmlformats.org/officeDocument/2006/relationships/image" Target="../media/image31.jpg"/><Relationship Id="rId5" Type="http://schemas.openxmlformats.org/officeDocument/2006/relationships/image" Target="../media/image25.jpg"/><Relationship Id="rId15" Type="http://schemas.openxmlformats.org/officeDocument/2006/relationships/image" Target="../media/image35.png"/><Relationship Id="rId10" Type="http://schemas.openxmlformats.org/officeDocument/2006/relationships/image" Target="../media/image30.jpg"/><Relationship Id="rId4" Type="http://schemas.openxmlformats.org/officeDocument/2006/relationships/image" Target="../media/image24.jpeg"/><Relationship Id="rId9" Type="http://schemas.openxmlformats.org/officeDocument/2006/relationships/image" Target="../media/image29.png"/><Relationship Id="rId14" Type="http://schemas.openxmlformats.org/officeDocument/2006/relationships/image" Target="../media/image34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sv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5.xml"/><Relationship Id="rId6" Type="http://schemas.openxmlformats.org/officeDocument/2006/relationships/image" Target="../media/image41.png"/><Relationship Id="rId11" Type="http://schemas.openxmlformats.org/officeDocument/2006/relationships/image" Target="../media/image46.png"/><Relationship Id="rId5" Type="http://schemas.openxmlformats.org/officeDocument/2006/relationships/image" Target="../media/image40.png"/><Relationship Id="rId10" Type="http://schemas.openxmlformats.org/officeDocument/2006/relationships/image" Target="../media/image45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FEE998C-3B55-4B27-9400-A13B5C282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831" y="109551"/>
            <a:ext cx="12192000" cy="784574"/>
          </a:xfrm>
        </p:spPr>
        <p:txBody>
          <a:bodyPr vert="horz" wrap="square" lIns="0" tIns="12700" rIns="0" bIns="0" rtlCol="0">
            <a:spAutoFit/>
          </a:bodyPr>
          <a:lstStyle/>
          <a:p>
            <a:pPr algn="ctr" defTabSz="609630">
              <a:lnSpc>
                <a:spcPts val="3080"/>
              </a:lnSpc>
              <a:defRPr/>
            </a:pPr>
            <a:r>
              <a:rPr lang="kk-KZ" sz="2400" b="1" noProof="0" dirty="0">
                <a:solidFill>
                  <a:srgbClr val="02ABC5"/>
                </a:solidFill>
                <a:latin typeface="Montserrat" panose="00000500000000000000" pitchFamily="2" charset="-52"/>
                <a:ea typeface="Montserrat Bold"/>
                <a:cs typeface="Rubik" pitchFamily="2" charset="-79"/>
                <a:sym typeface="Montserrat Bold"/>
              </a:rPr>
              <a:t>ТАУАРЛАРДЫ ЖЕРГІЛІКТЕНДІРУДІҢ </a:t>
            </a:r>
            <a:br>
              <a:rPr lang="kk-KZ" sz="2400" b="1" noProof="0" dirty="0">
                <a:solidFill>
                  <a:srgbClr val="02ABC5"/>
                </a:solidFill>
                <a:latin typeface="Montserrat" panose="00000500000000000000" pitchFamily="2" charset="-52"/>
                <a:ea typeface="Montserrat Bold"/>
                <a:cs typeface="Rubik" pitchFamily="2" charset="-79"/>
                <a:sym typeface="Montserrat Bold"/>
              </a:rPr>
            </a:br>
            <a:r>
              <a:rPr lang="kk-KZ" sz="2400" b="1" noProof="0" dirty="0">
                <a:solidFill>
                  <a:srgbClr val="02ABC5"/>
                </a:solidFill>
                <a:latin typeface="Montserrat" panose="00000500000000000000" pitchFamily="2" charset="-52"/>
                <a:ea typeface="Montserrat Bold"/>
                <a:cs typeface="Rubik" pitchFamily="2" charset="-79"/>
                <a:sym typeface="Montserrat Bold"/>
              </a:rPr>
              <a:t>СӘТТІ МЫСАЛДАРЫ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888BE90-34A4-4538-8B3C-39E66136BBB8}"/>
              </a:ext>
            </a:extLst>
          </p:cNvPr>
          <p:cNvGrpSpPr/>
          <p:nvPr/>
        </p:nvGrpSpPr>
        <p:grpSpPr>
          <a:xfrm>
            <a:off x="549104" y="1168117"/>
            <a:ext cx="2181818" cy="1774945"/>
            <a:chOff x="549104" y="1175153"/>
            <a:chExt cx="2181818" cy="1774945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E9203B23-17AD-4018-AADC-30F33F27B6E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713" t="5901" r="4326" b="21651"/>
            <a:stretch/>
          </p:blipFill>
          <p:spPr>
            <a:xfrm>
              <a:off x="554038" y="1175153"/>
              <a:ext cx="2176884" cy="1250352"/>
            </a:xfrm>
            <a:prstGeom prst="rect">
              <a:avLst/>
            </a:prstGeom>
            <a:ln w="28575">
              <a:noFill/>
            </a:ln>
            <a:effectLst/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3E02C95F-91FC-4375-8F18-FF1DEC107433}"/>
                </a:ext>
              </a:extLst>
            </p:cNvPr>
            <p:cNvSpPr/>
            <p:nvPr/>
          </p:nvSpPr>
          <p:spPr>
            <a:xfrm>
              <a:off x="549104" y="2425501"/>
              <a:ext cx="2181818" cy="524597"/>
            </a:xfrm>
            <a:prstGeom prst="rect">
              <a:avLst/>
            </a:prstGeom>
            <a:solidFill>
              <a:srgbClr val="00B050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k-KZ" sz="1100" b="1" noProof="0" dirty="0">
                  <a:solidFill>
                    <a:schemeClr val="tx1"/>
                  </a:solidFill>
                </a:rPr>
                <a:t>Қабырғасы қалың, жоғары қысымда жұмыс істейтін ыдыстар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ED42DF8-38CB-40EA-BDB6-8276793BEA83}"/>
              </a:ext>
            </a:extLst>
          </p:cNvPr>
          <p:cNvGrpSpPr/>
          <p:nvPr/>
        </p:nvGrpSpPr>
        <p:grpSpPr>
          <a:xfrm>
            <a:off x="2821329" y="2988453"/>
            <a:ext cx="2181818" cy="1760309"/>
            <a:chOff x="2827030" y="1175153"/>
            <a:chExt cx="2181818" cy="1760309"/>
          </a:xfrm>
        </p:grpSpPr>
        <p:pic>
          <p:nvPicPr>
            <p:cNvPr id="14" name="Picture 6">
              <a:extLst>
                <a:ext uri="{FF2B5EF4-FFF2-40B4-BE49-F238E27FC236}">
                  <a16:creationId xmlns:a16="http://schemas.microsoft.com/office/drawing/2014/main" id="{BB4E2598-BA50-4338-8A90-7B79F709F9E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27051" y="1175153"/>
              <a:ext cx="2179924" cy="1250352"/>
            </a:xfrm>
            <a:prstGeom prst="rect">
              <a:avLst/>
            </a:prstGeom>
            <a:ln w="28575"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2C305C3-524F-4E89-AA4D-4B007352B0F6}"/>
                </a:ext>
              </a:extLst>
            </p:cNvPr>
            <p:cNvSpPr/>
            <p:nvPr/>
          </p:nvSpPr>
          <p:spPr>
            <a:xfrm>
              <a:off x="2827030" y="2425502"/>
              <a:ext cx="2181818" cy="509960"/>
            </a:xfrm>
            <a:prstGeom prst="rect">
              <a:avLst/>
            </a:prstGeom>
            <a:solidFill>
              <a:srgbClr val="00B050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k-KZ" sz="1100" b="1" noProof="0" dirty="0">
                  <a:solidFill>
                    <a:schemeClr val="tx1"/>
                  </a:solidFill>
                </a:rPr>
                <a:t>1/2-дюймдік бұрғылау қашаулары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8DC52371-A336-48A7-8BA1-F0409173634E}"/>
              </a:ext>
            </a:extLst>
          </p:cNvPr>
          <p:cNvGrpSpPr/>
          <p:nvPr/>
        </p:nvGrpSpPr>
        <p:grpSpPr>
          <a:xfrm>
            <a:off x="5093106" y="2988773"/>
            <a:ext cx="2284524" cy="1760309"/>
            <a:chOff x="5092701" y="1175151"/>
            <a:chExt cx="2190750" cy="1760309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2C9A4449-C579-401A-9FB2-8050C57F543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93072" y="1175151"/>
              <a:ext cx="2188979" cy="1250351"/>
            </a:xfrm>
            <a:prstGeom prst="rect">
              <a:avLst/>
            </a:prstGeom>
            <a:ln w="28575">
              <a:noFill/>
            </a:ln>
            <a:effectLst/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6EB21F3C-FAEA-4013-B437-217861E07316}"/>
                </a:ext>
              </a:extLst>
            </p:cNvPr>
            <p:cNvSpPr/>
            <p:nvPr/>
          </p:nvSpPr>
          <p:spPr>
            <a:xfrm>
              <a:off x="5092701" y="2425501"/>
              <a:ext cx="2190750" cy="509959"/>
            </a:xfrm>
            <a:prstGeom prst="rect">
              <a:avLst/>
            </a:prstGeom>
            <a:solidFill>
              <a:srgbClr val="00B050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k-KZ" sz="1100" b="1" noProof="0" dirty="0">
                  <a:solidFill>
                    <a:schemeClr val="tx1"/>
                  </a:solidFill>
                </a:rPr>
                <a:t>Мұнай кәсіптік құбырлар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AFF9DCAF-D02A-4C1B-B62F-39C140D889B6}"/>
              </a:ext>
            </a:extLst>
          </p:cNvPr>
          <p:cNvGrpSpPr/>
          <p:nvPr/>
        </p:nvGrpSpPr>
        <p:grpSpPr>
          <a:xfrm>
            <a:off x="2821329" y="1168117"/>
            <a:ext cx="2184203" cy="1774947"/>
            <a:chOff x="7368642" y="1175151"/>
            <a:chExt cx="2184203" cy="1774947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6B6093C7-F209-41FD-A6D3-59D8E82E0F6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368642" y="1175151"/>
              <a:ext cx="2184203" cy="1250352"/>
            </a:xfrm>
            <a:prstGeom prst="rect">
              <a:avLst/>
            </a:prstGeom>
            <a:ln w="28575">
              <a:noFill/>
            </a:ln>
            <a:effectLst/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8EC2DF8-678F-4E7E-A954-CADC48CF7D27}"/>
                </a:ext>
              </a:extLst>
            </p:cNvPr>
            <p:cNvSpPr/>
            <p:nvPr/>
          </p:nvSpPr>
          <p:spPr>
            <a:xfrm>
              <a:off x="7368642" y="2425502"/>
              <a:ext cx="2184203" cy="524596"/>
            </a:xfrm>
            <a:prstGeom prst="rect">
              <a:avLst/>
            </a:prstGeom>
            <a:solidFill>
              <a:srgbClr val="00B050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k-KZ" sz="1100" b="1" noProof="0" dirty="0" err="1">
                  <a:solidFill>
                    <a:schemeClr val="tx1"/>
                  </a:solidFill>
                </a:rPr>
                <a:t>Электржабдық</a:t>
              </a:r>
              <a:r>
                <a:rPr lang="kk-KZ" sz="1100" b="1" noProof="0" dirty="0">
                  <a:solidFill>
                    <a:schemeClr val="tx1"/>
                  </a:solidFill>
                </a:rPr>
                <a:t> 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0EEB00C-E8C0-4B50-9619-2E9FADA94122}"/>
              </a:ext>
            </a:extLst>
          </p:cNvPr>
          <p:cNvGrpSpPr/>
          <p:nvPr/>
        </p:nvGrpSpPr>
        <p:grpSpPr>
          <a:xfrm>
            <a:off x="5095939" y="1168117"/>
            <a:ext cx="2288245" cy="1774948"/>
            <a:chOff x="9641817" y="1175150"/>
            <a:chExt cx="2288245" cy="1774948"/>
          </a:xfrm>
        </p:grpSpPr>
        <p:pic>
          <p:nvPicPr>
            <p:cNvPr id="20" name="Picture 2" descr="http://www.kpo.kz/typo3temp/pics/3fa4b2ba15.jpg">
              <a:extLst>
                <a:ext uri="{FF2B5EF4-FFF2-40B4-BE49-F238E27FC236}">
                  <a16:creationId xmlns:a16="http://schemas.microsoft.com/office/drawing/2014/main" id="{8043244F-D482-4573-8182-81E707D7F96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41818" y="1175150"/>
              <a:ext cx="2284524" cy="1250352"/>
            </a:xfrm>
            <a:prstGeom prst="rect">
              <a:avLst/>
            </a:prstGeom>
            <a:ln w="28575"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891F801-AB18-4BE5-A5A5-1BC7077A0B8F}"/>
                </a:ext>
              </a:extLst>
            </p:cNvPr>
            <p:cNvSpPr/>
            <p:nvPr/>
          </p:nvSpPr>
          <p:spPr>
            <a:xfrm>
              <a:off x="9641817" y="2425502"/>
              <a:ext cx="2288245" cy="52459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k-KZ" sz="1100" b="1" noProof="0" dirty="0">
                  <a:solidFill>
                    <a:schemeClr val="tx1"/>
                  </a:solidFill>
                </a:rPr>
                <a:t>Модульдік қосалқы станциялар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6699CFEE-2C4B-4B6E-A9F0-C9EA8A6BAA58}"/>
              </a:ext>
            </a:extLst>
          </p:cNvPr>
          <p:cNvGrpSpPr/>
          <p:nvPr/>
        </p:nvGrpSpPr>
        <p:grpSpPr>
          <a:xfrm>
            <a:off x="7474591" y="1168117"/>
            <a:ext cx="2184203" cy="1757084"/>
            <a:chOff x="549104" y="2998373"/>
            <a:chExt cx="2184203" cy="1757084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51284F2-61B3-4490-8580-1A704335FD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996"/>
            <a:stretch/>
          </p:blipFill>
          <p:spPr>
            <a:xfrm>
              <a:off x="549104" y="2998373"/>
              <a:ext cx="2183294" cy="1232494"/>
            </a:xfrm>
            <a:prstGeom prst="rect">
              <a:avLst/>
            </a:prstGeom>
            <a:ln>
              <a:noFill/>
            </a:ln>
            <a:effectLst/>
          </p:spPr>
        </p:pic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72F1E8D7-C4CC-42E6-AFF0-BECCB60A2067}"/>
                </a:ext>
              </a:extLst>
            </p:cNvPr>
            <p:cNvSpPr/>
            <p:nvPr/>
          </p:nvSpPr>
          <p:spPr>
            <a:xfrm>
              <a:off x="549104" y="4191613"/>
              <a:ext cx="2184203" cy="563844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k-KZ" sz="1100" b="1" noProof="0" dirty="0">
                  <a:solidFill>
                    <a:schemeClr val="tx1"/>
                  </a:solidFill>
                </a:rPr>
                <a:t>Кабель науалары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6C36565-EBA2-4830-9033-7378C0244E34}"/>
              </a:ext>
            </a:extLst>
          </p:cNvPr>
          <p:cNvGrpSpPr/>
          <p:nvPr/>
        </p:nvGrpSpPr>
        <p:grpSpPr>
          <a:xfrm>
            <a:off x="7474591" y="4775490"/>
            <a:ext cx="2190717" cy="1789134"/>
            <a:chOff x="540205" y="4785032"/>
            <a:chExt cx="2190717" cy="1789134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193EFD3F-B500-4CF1-82E5-62B7CDE3ACB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46722" y="4785032"/>
              <a:ext cx="2184200" cy="1232494"/>
            </a:xfrm>
            <a:prstGeom prst="rect">
              <a:avLst/>
            </a:prstGeom>
            <a:ln>
              <a:noFill/>
            </a:ln>
            <a:effectLst/>
          </p:spPr>
        </p:pic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4176CD59-7C49-49F0-ACEF-18CD7A8D36C2}"/>
                </a:ext>
              </a:extLst>
            </p:cNvPr>
            <p:cNvSpPr/>
            <p:nvPr/>
          </p:nvSpPr>
          <p:spPr>
            <a:xfrm>
              <a:off x="540205" y="6021091"/>
              <a:ext cx="2190717" cy="553075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k-KZ" sz="1100" b="1" noProof="0" dirty="0">
                  <a:solidFill>
                    <a:schemeClr val="tx1"/>
                  </a:solidFill>
                </a:rPr>
                <a:t>Таратқыш тораптар 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34450E7-4CC8-41FC-A24D-2CDA07F13815}"/>
              </a:ext>
            </a:extLst>
          </p:cNvPr>
          <p:cNvGrpSpPr/>
          <p:nvPr/>
        </p:nvGrpSpPr>
        <p:grpSpPr>
          <a:xfrm>
            <a:off x="5101953" y="4794846"/>
            <a:ext cx="2274217" cy="1778924"/>
            <a:chOff x="2828796" y="4795241"/>
            <a:chExt cx="2184203" cy="1778924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FDFC32B7-E3F2-4EDC-8225-21D381B380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828796" y="4795241"/>
              <a:ext cx="2184200" cy="1232494"/>
            </a:xfrm>
            <a:prstGeom prst="rect">
              <a:avLst/>
            </a:prstGeom>
            <a:ln>
              <a:noFill/>
            </a:ln>
            <a:effectLst/>
          </p:spPr>
        </p:pic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E001E2B8-460F-44D5-99E8-27BD24A44203}"/>
                </a:ext>
              </a:extLst>
            </p:cNvPr>
            <p:cNvSpPr/>
            <p:nvPr/>
          </p:nvSpPr>
          <p:spPr>
            <a:xfrm>
              <a:off x="2828796" y="6027734"/>
              <a:ext cx="2184203" cy="54643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k-KZ" sz="1100" b="1" noProof="0" dirty="0">
                  <a:solidFill>
                    <a:schemeClr val="tx1"/>
                  </a:solidFill>
                </a:rPr>
                <a:t>17 1/2-дюймдік бұрғылау қашаулары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E1891EA-A296-4AEE-BD30-81F4B9CCEDED}"/>
              </a:ext>
            </a:extLst>
          </p:cNvPr>
          <p:cNvGrpSpPr/>
          <p:nvPr/>
        </p:nvGrpSpPr>
        <p:grpSpPr>
          <a:xfrm>
            <a:off x="548954" y="2992493"/>
            <a:ext cx="2184203" cy="1779376"/>
            <a:chOff x="5101978" y="4794790"/>
            <a:chExt cx="2184203" cy="1779376"/>
          </a:xfrm>
        </p:grpSpPr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F9264E96-9803-4300-A810-EA233697070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101978" y="4794790"/>
              <a:ext cx="2184200" cy="1232494"/>
            </a:xfrm>
            <a:prstGeom prst="rect">
              <a:avLst/>
            </a:prstGeom>
            <a:ln>
              <a:noFill/>
            </a:ln>
            <a:effectLst/>
          </p:spPr>
        </p:pic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65A0D799-6EF5-490A-9733-A53E5264325B}"/>
                </a:ext>
              </a:extLst>
            </p:cNvPr>
            <p:cNvSpPr/>
            <p:nvPr/>
          </p:nvSpPr>
          <p:spPr>
            <a:xfrm>
              <a:off x="5101978" y="6027284"/>
              <a:ext cx="2184203" cy="54688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k-KZ" sz="1100" b="1" noProof="0" dirty="0">
                  <a:solidFill>
                    <a:schemeClr val="tx1"/>
                  </a:solidFill>
                </a:rPr>
                <a:t>Газды сусыздандыру бағаны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0D4FE84-B925-4282-8C9E-153906A814C8}"/>
              </a:ext>
            </a:extLst>
          </p:cNvPr>
          <p:cNvGrpSpPr/>
          <p:nvPr/>
        </p:nvGrpSpPr>
        <p:grpSpPr>
          <a:xfrm>
            <a:off x="2815642" y="4794313"/>
            <a:ext cx="2173025" cy="1777155"/>
            <a:chOff x="9638997" y="4785032"/>
            <a:chExt cx="2275902" cy="1777155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2FFC330E-D42B-49E7-810A-80A28465EAB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/>
            <a:srcRect r="1917" b="2960"/>
            <a:stretch/>
          </p:blipFill>
          <p:spPr>
            <a:xfrm>
              <a:off x="9638999" y="4785032"/>
              <a:ext cx="2275899" cy="1232417"/>
            </a:xfrm>
            <a:prstGeom prst="rect">
              <a:avLst/>
            </a:prstGeom>
            <a:ln>
              <a:noFill/>
            </a:ln>
            <a:effectLst/>
          </p:spPr>
        </p:pic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5BCFF2DF-B4E4-4A81-A433-2C96C5A67565}"/>
                </a:ext>
              </a:extLst>
            </p:cNvPr>
            <p:cNvSpPr/>
            <p:nvPr/>
          </p:nvSpPr>
          <p:spPr>
            <a:xfrm>
              <a:off x="9638997" y="5997009"/>
              <a:ext cx="2275902" cy="565178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k-KZ" sz="1100" b="1" noProof="0" dirty="0">
                  <a:solidFill>
                    <a:schemeClr val="tx1"/>
                  </a:solidFill>
                </a:rPr>
                <a:t>Қашықтан басқарылатын телеметриялық блоктар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47E98E3-2F24-433A-8E53-ACBA697D8DB2}"/>
              </a:ext>
            </a:extLst>
          </p:cNvPr>
          <p:cNvGrpSpPr/>
          <p:nvPr/>
        </p:nvGrpSpPr>
        <p:grpSpPr>
          <a:xfrm>
            <a:off x="9741353" y="4775490"/>
            <a:ext cx="2184203" cy="1780598"/>
            <a:chOff x="2812178" y="2999016"/>
            <a:chExt cx="2184203" cy="1780598"/>
          </a:xfrm>
        </p:grpSpPr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50814FD0-09AB-4460-BD8A-2B4D93E89D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38685" y="2999016"/>
              <a:ext cx="1551395" cy="1109379"/>
            </a:xfrm>
            <a:prstGeom prst="rect">
              <a:avLst/>
            </a:prstGeom>
            <a:ln>
              <a:noFill/>
            </a:ln>
            <a:effectLst/>
          </p:spPr>
        </p:pic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C696EA07-64A1-4A6E-8B9D-EE804BD74AA3}"/>
                </a:ext>
              </a:extLst>
            </p:cNvPr>
            <p:cNvSpPr/>
            <p:nvPr/>
          </p:nvSpPr>
          <p:spPr>
            <a:xfrm>
              <a:off x="2812178" y="4215770"/>
              <a:ext cx="2184203" cy="563844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k-KZ" sz="1100" b="1" noProof="0" dirty="0">
                  <a:solidFill>
                    <a:schemeClr val="tx1"/>
                  </a:solidFill>
                </a:rPr>
                <a:t>H2S детекторлары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F5DC57C-5A2C-4873-A7FE-74A8D3CF253D}"/>
              </a:ext>
            </a:extLst>
          </p:cNvPr>
          <p:cNvGrpSpPr/>
          <p:nvPr/>
        </p:nvGrpSpPr>
        <p:grpSpPr>
          <a:xfrm>
            <a:off x="9749199" y="1168117"/>
            <a:ext cx="2180863" cy="1757084"/>
            <a:chOff x="7369537" y="2998373"/>
            <a:chExt cx="2180863" cy="1757084"/>
          </a:xfrm>
        </p:grpSpPr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1EB94F56-5932-4F4F-97C7-0B880DC924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72350" y="2998373"/>
              <a:ext cx="2178050" cy="1193025"/>
            </a:xfrm>
            <a:prstGeom prst="rect">
              <a:avLst/>
            </a:prstGeom>
            <a:ln>
              <a:noFill/>
            </a:ln>
            <a:effectLst/>
          </p:spPr>
        </p:pic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90D2D25C-CA2D-4EA9-80FC-AAA99FC50547}"/>
                </a:ext>
              </a:extLst>
            </p:cNvPr>
            <p:cNvSpPr/>
            <p:nvPr/>
          </p:nvSpPr>
          <p:spPr>
            <a:xfrm>
              <a:off x="7369537" y="4190412"/>
              <a:ext cx="2180863" cy="565045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k-KZ" sz="1100" b="1" noProof="0" dirty="0">
                  <a:solidFill>
                    <a:schemeClr val="tx1"/>
                  </a:solidFill>
                </a:rPr>
                <a:t>Үш фазалы сепаратор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A010CF4-F118-4339-AA41-2B77F5432A25}"/>
              </a:ext>
            </a:extLst>
          </p:cNvPr>
          <p:cNvGrpSpPr/>
          <p:nvPr/>
        </p:nvGrpSpPr>
        <p:grpSpPr>
          <a:xfrm>
            <a:off x="9752011" y="2998373"/>
            <a:ext cx="2162888" cy="1756869"/>
            <a:chOff x="9638997" y="2998373"/>
            <a:chExt cx="2275902" cy="1756869"/>
          </a:xfrm>
        </p:grpSpPr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F9527FE0-2DF5-48BC-A582-AFCE2A77B78A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05272" y="2998373"/>
              <a:ext cx="1359200" cy="1110022"/>
            </a:xfrm>
            <a:prstGeom prst="rect">
              <a:avLst/>
            </a:prstGeom>
            <a:ln>
              <a:noFill/>
            </a:ln>
            <a:effectLst/>
          </p:spPr>
        </p:pic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F517B964-D234-4EB8-BDB5-63A9EC7FE25D}"/>
                </a:ext>
              </a:extLst>
            </p:cNvPr>
            <p:cNvSpPr/>
            <p:nvPr/>
          </p:nvSpPr>
          <p:spPr>
            <a:xfrm>
              <a:off x="9638997" y="4191398"/>
              <a:ext cx="2275902" cy="563844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k-KZ" sz="1100" b="1" noProof="0" dirty="0">
                  <a:solidFill>
                    <a:schemeClr val="tx1"/>
                  </a:solidFill>
                </a:rPr>
                <a:t>Тығыздағыштар   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CA86931-C701-47FA-88AE-52F37A452A68}"/>
              </a:ext>
            </a:extLst>
          </p:cNvPr>
          <p:cNvGrpSpPr/>
          <p:nvPr/>
        </p:nvGrpSpPr>
        <p:grpSpPr>
          <a:xfrm>
            <a:off x="545296" y="4806185"/>
            <a:ext cx="2185626" cy="1767396"/>
            <a:chOff x="7369537" y="4794790"/>
            <a:chExt cx="2185626" cy="1767396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09D10194-F5F9-4093-9A37-AEF7E436A6ED}"/>
                </a:ext>
              </a:extLst>
            </p:cNvPr>
            <p:cNvSpPr/>
            <p:nvPr/>
          </p:nvSpPr>
          <p:spPr>
            <a:xfrm>
              <a:off x="7375156" y="6015303"/>
              <a:ext cx="2180007" cy="546883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k-KZ" sz="1100" b="1" noProof="0" dirty="0">
                  <a:solidFill>
                    <a:schemeClr val="tx1"/>
                  </a:solidFill>
                </a:rPr>
                <a:t>Сүзгілер </a:t>
              </a:r>
            </a:p>
          </p:txBody>
        </p:sp>
        <p:pic>
          <p:nvPicPr>
            <p:cNvPr id="34" name="Picture 2">
              <a:extLst>
                <a:ext uri="{FF2B5EF4-FFF2-40B4-BE49-F238E27FC236}">
                  <a16:creationId xmlns:a16="http://schemas.microsoft.com/office/drawing/2014/main" id="{A75B5E67-5150-4C60-8732-E22F9009C4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69537" y="4794790"/>
              <a:ext cx="2184199" cy="12205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4" name="Slide Number Placeholder 2">
            <a:extLst>
              <a:ext uri="{FF2B5EF4-FFF2-40B4-BE49-F238E27FC236}">
                <a16:creationId xmlns:a16="http://schemas.microsoft.com/office/drawing/2014/main" id="{E4996014-18F8-4BA3-A619-4032318276D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274" y="6525526"/>
            <a:ext cx="616226" cy="332474"/>
          </a:xfrm>
        </p:spPr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8EB68E-E012-4BA0-8FC2-4838E88C4766}" type="slidenum">
              <a:rPr kumimoji="0" lang="kk-KZ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kk-KZ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Footer Placeholder 1">
            <a:extLst>
              <a:ext uri="{FF2B5EF4-FFF2-40B4-BE49-F238E27FC236}">
                <a16:creationId xmlns:a16="http://schemas.microsoft.com/office/drawing/2014/main" id="{237D90D4-CF43-4F4D-ABB5-D66900397D88}"/>
              </a:ext>
            </a:extLst>
          </p:cNvPr>
          <p:cNvSpPr txBox="1">
            <a:spLocks/>
          </p:cNvSpPr>
          <p:nvPr/>
        </p:nvSpPr>
        <p:spPr>
          <a:xfrm>
            <a:off x="720500" y="6641838"/>
            <a:ext cx="12184790" cy="33247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k-KZ" sz="800" noProof="0" dirty="0">
                <a:solidFill>
                  <a:schemeClr val="bg1">
                    <a:lumMod val="50000"/>
                  </a:schemeClr>
                </a:solidFill>
              </a:rPr>
              <a:t>ҚҰПИЯ АҚПАРА 				 КАРАЧАГАНАК ПЕТРОЛИУМ ОПЕРЕЙТИНГ Б.В.</a:t>
            </a:r>
          </a:p>
        </p:txBody>
      </p:sp>
      <p:pic>
        <p:nvPicPr>
          <p:cNvPr id="29" name="Picture 28" descr="A close-up of a metal ring&#10;&#10;Description automatically generated">
            <a:extLst>
              <a:ext uri="{FF2B5EF4-FFF2-40B4-BE49-F238E27FC236}">
                <a16:creationId xmlns:a16="http://schemas.microsoft.com/office/drawing/2014/main" id="{C02BD1FE-DDD9-DADD-6984-BED944EF5586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34976" y="3079259"/>
            <a:ext cx="2076463" cy="1159543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48E3D1DA-ED7B-F5E9-C19F-AFB5B07117DE}"/>
              </a:ext>
            </a:extLst>
          </p:cNvPr>
          <p:cNvSpPr/>
          <p:nvPr/>
        </p:nvSpPr>
        <p:spPr>
          <a:xfrm>
            <a:off x="7466516" y="4206824"/>
            <a:ext cx="2180863" cy="565045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err="1">
                <a:solidFill>
                  <a:schemeClr val="tx1"/>
                </a:solidFill>
              </a:rPr>
              <a:t>Құбыр</a:t>
            </a:r>
            <a:r>
              <a:rPr lang="ru-RU" sz="1100" b="1" dirty="0">
                <a:solidFill>
                  <a:schemeClr val="tx1"/>
                </a:solidFill>
              </a:rPr>
              <a:t> </a:t>
            </a:r>
            <a:r>
              <a:rPr lang="ru-RU" sz="1100" b="1" dirty="0" err="1">
                <a:solidFill>
                  <a:schemeClr val="tx1"/>
                </a:solidFill>
              </a:rPr>
              <a:t>өнімдері</a:t>
            </a:r>
            <a:r>
              <a:rPr lang="ru-RU" sz="1100" b="1" dirty="0">
                <a:solidFill>
                  <a:schemeClr val="tx1"/>
                </a:solidFill>
              </a:rPr>
              <a:t> (</a:t>
            </a:r>
            <a:r>
              <a:rPr lang="ru-RU" sz="1100" b="1" dirty="0" err="1">
                <a:solidFill>
                  <a:schemeClr val="tx1"/>
                </a:solidFill>
              </a:rPr>
              <a:t>ернемектер</a:t>
            </a:r>
            <a:r>
              <a:rPr lang="ru-RU" sz="1100" b="1" dirty="0">
                <a:solidFill>
                  <a:schemeClr val="tx1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690009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66700F-2C26-276B-31BC-6608098A36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E0434FC-2B4F-9E81-3A2A-AA1A51587D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831" y="158780"/>
            <a:ext cx="12192000" cy="784574"/>
          </a:xfrm>
        </p:spPr>
        <p:txBody>
          <a:bodyPr vert="horz" wrap="square" lIns="0" tIns="12700" rIns="0" bIns="0" rtlCol="0">
            <a:spAutoFit/>
          </a:bodyPr>
          <a:lstStyle/>
          <a:p>
            <a:pPr algn="ctr" defTabSz="609630">
              <a:lnSpc>
                <a:spcPts val="3080"/>
              </a:lnSpc>
              <a:defRPr/>
            </a:pPr>
            <a:r>
              <a:rPr lang="ru-RU" sz="2400" b="1" dirty="0">
                <a:solidFill>
                  <a:srgbClr val="02ABC5"/>
                </a:solidFill>
                <a:latin typeface="Montserrat" panose="00000500000000000000" pitchFamily="2" charset="-52"/>
                <a:ea typeface="Montserrat Bold"/>
                <a:cs typeface="Rubik" pitchFamily="2" charset="-79"/>
                <a:sym typeface="Montserrat Bold"/>
              </a:rPr>
              <a:t>ТАУАРЛАРДЫ ЖЕРГІЛІКТЕНДІРУДІҢ </a:t>
            </a:r>
            <a:br>
              <a:rPr lang="ru-RU" sz="2400" b="1" dirty="0">
                <a:solidFill>
                  <a:srgbClr val="02ABC5"/>
                </a:solidFill>
                <a:latin typeface="Montserrat" panose="00000500000000000000" pitchFamily="2" charset="-52"/>
                <a:ea typeface="Montserrat Bold"/>
                <a:cs typeface="Rubik" pitchFamily="2" charset="-79"/>
                <a:sym typeface="Montserrat Bold"/>
              </a:rPr>
            </a:br>
            <a:r>
              <a:rPr lang="ru-RU" sz="2400" b="1" dirty="0">
                <a:solidFill>
                  <a:srgbClr val="02ABC5"/>
                </a:solidFill>
                <a:latin typeface="Montserrat" panose="00000500000000000000" pitchFamily="2" charset="-52"/>
                <a:ea typeface="Montserrat Bold"/>
                <a:cs typeface="Rubik" pitchFamily="2" charset="-79"/>
                <a:sym typeface="Montserrat Bold"/>
              </a:rPr>
              <a:t>СӘТТІ МЫСАЛДАРЫ</a:t>
            </a:r>
            <a:endParaRPr lang="en-US" sz="2400" b="1" dirty="0">
              <a:solidFill>
                <a:srgbClr val="02ABC5"/>
              </a:solidFill>
              <a:latin typeface="Montserrat" panose="00000500000000000000" pitchFamily="2" charset="-52"/>
              <a:ea typeface="Montserrat Bold"/>
              <a:cs typeface="Rubik" pitchFamily="2" charset="-79"/>
              <a:sym typeface="Montserrat Bold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1C2DE8A-DADA-C472-ACB8-B00C1B03726C}"/>
              </a:ext>
            </a:extLst>
          </p:cNvPr>
          <p:cNvSpPr/>
          <p:nvPr/>
        </p:nvSpPr>
        <p:spPr>
          <a:xfrm>
            <a:off x="549104" y="2418465"/>
            <a:ext cx="2181818" cy="524597"/>
          </a:xfrm>
          <a:prstGeom prst="rect">
            <a:avLst/>
          </a:prstGeom>
          <a:solidFill>
            <a:srgbClr val="00B050"/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err="1">
                <a:solidFill>
                  <a:schemeClr val="tx1"/>
                </a:solidFill>
              </a:rPr>
              <a:t>Химиялық</a:t>
            </a:r>
            <a:r>
              <a:rPr lang="ru-RU" sz="1100" b="1" dirty="0">
                <a:solidFill>
                  <a:schemeClr val="tx1"/>
                </a:solidFill>
              </a:rPr>
              <a:t> </a:t>
            </a:r>
            <a:r>
              <a:rPr lang="ru-RU" sz="1100" b="1" dirty="0" err="1">
                <a:solidFill>
                  <a:schemeClr val="tx1"/>
                </a:solidFill>
              </a:rPr>
              <a:t>заттар</a:t>
            </a:r>
            <a:endParaRPr lang="ru-RU" sz="1100" b="1" dirty="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3DA9359-162C-9E10-B1DB-8C144F8E0F46}"/>
              </a:ext>
            </a:extLst>
          </p:cNvPr>
          <p:cNvSpPr/>
          <p:nvPr/>
        </p:nvSpPr>
        <p:spPr>
          <a:xfrm>
            <a:off x="2819455" y="4261909"/>
            <a:ext cx="2181818" cy="509960"/>
          </a:xfrm>
          <a:prstGeom prst="rect">
            <a:avLst/>
          </a:prstGeom>
          <a:solidFill>
            <a:srgbClr val="00B050"/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err="1">
                <a:solidFill>
                  <a:schemeClr val="tx1"/>
                </a:solidFill>
              </a:rPr>
              <a:t>Манометрлер</a:t>
            </a:r>
            <a:endParaRPr lang="ru-RU" sz="1100" b="1" dirty="0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8855FF6-FCAE-1720-7D90-765E15ECB19A}"/>
              </a:ext>
            </a:extLst>
          </p:cNvPr>
          <p:cNvSpPr/>
          <p:nvPr/>
        </p:nvSpPr>
        <p:spPr>
          <a:xfrm>
            <a:off x="5082767" y="4261910"/>
            <a:ext cx="2284524" cy="509959"/>
          </a:xfrm>
          <a:prstGeom prst="rect">
            <a:avLst/>
          </a:prstGeom>
          <a:solidFill>
            <a:srgbClr val="00B050"/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err="1">
                <a:solidFill>
                  <a:schemeClr val="tx1"/>
                </a:solidFill>
              </a:rPr>
              <a:t>Клапандар</a:t>
            </a:r>
            <a:endParaRPr lang="ru-RU" sz="1100" b="1" dirty="0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17B1223-0725-30A1-44D9-6A709B1A4DE7}"/>
              </a:ext>
            </a:extLst>
          </p:cNvPr>
          <p:cNvSpPr/>
          <p:nvPr/>
        </p:nvSpPr>
        <p:spPr>
          <a:xfrm>
            <a:off x="2821329" y="2418468"/>
            <a:ext cx="2184203" cy="524596"/>
          </a:xfrm>
          <a:prstGeom prst="rect">
            <a:avLst/>
          </a:prstGeom>
          <a:solidFill>
            <a:srgbClr val="00B050"/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 b="1" dirty="0">
              <a:solidFill>
                <a:schemeClr val="tx1"/>
              </a:solidFill>
            </a:endParaRPr>
          </a:p>
          <a:p>
            <a:pPr algn="ctr"/>
            <a:r>
              <a:rPr lang="ru-RU" sz="1100" b="1" dirty="0" err="1">
                <a:solidFill>
                  <a:schemeClr val="tx1"/>
                </a:solidFill>
              </a:rPr>
              <a:t>Апаттық</a:t>
            </a:r>
            <a:r>
              <a:rPr lang="ru-RU" sz="1100" b="1" dirty="0">
                <a:solidFill>
                  <a:schemeClr val="tx1"/>
                </a:solidFill>
              </a:rPr>
              <a:t> капюшон (</a:t>
            </a:r>
            <a:r>
              <a:rPr lang="ru-RU" sz="1100" b="1" dirty="0" err="1">
                <a:solidFill>
                  <a:schemeClr val="tx1"/>
                </a:solidFill>
              </a:rPr>
              <a:t>жеке</a:t>
            </a:r>
            <a:r>
              <a:rPr lang="ru-RU" sz="1100" b="1" dirty="0">
                <a:solidFill>
                  <a:schemeClr val="tx1"/>
                </a:solidFill>
              </a:rPr>
              <a:t> </a:t>
            </a:r>
            <a:r>
              <a:rPr lang="ru-RU" sz="1100" b="1" dirty="0" err="1">
                <a:solidFill>
                  <a:schemeClr val="tx1"/>
                </a:solidFill>
              </a:rPr>
              <a:t>құтқарғыштар</a:t>
            </a:r>
            <a:r>
              <a:rPr lang="ru-RU" sz="1100" b="1" dirty="0">
                <a:solidFill>
                  <a:schemeClr val="tx1"/>
                </a:solidFill>
              </a:rPr>
              <a:t>) </a:t>
            </a:r>
          </a:p>
          <a:p>
            <a:pPr algn="ctr"/>
            <a:endParaRPr lang="ru-RU" sz="1100" b="1" dirty="0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0A88515-7663-6309-9AFA-BD7EFBA5E6E5}"/>
              </a:ext>
            </a:extLst>
          </p:cNvPr>
          <p:cNvSpPr/>
          <p:nvPr/>
        </p:nvSpPr>
        <p:spPr>
          <a:xfrm>
            <a:off x="5095939" y="2418469"/>
            <a:ext cx="2288245" cy="524596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/>
                </a:solidFill>
              </a:rPr>
              <a:t>ЖҚҚ (</a:t>
            </a:r>
            <a:r>
              <a:rPr lang="ru-RU" sz="1100" b="1" dirty="0" err="1">
                <a:solidFill>
                  <a:schemeClr val="tx1"/>
                </a:solidFill>
              </a:rPr>
              <a:t>жеке</a:t>
            </a:r>
            <a:r>
              <a:rPr lang="ru-RU" sz="1100" b="1" dirty="0">
                <a:solidFill>
                  <a:schemeClr val="tx1"/>
                </a:solidFill>
              </a:rPr>
              <a:t> </a:t>
            </a:r>
            <a:r>
              <a:rPr lang="ru-RU" sz="1100" b="1" dirty="0" err="1">
                <a:solidFill>
                  <a:schemeClr val="tx1"/>
                </a:solidFill>
              </a:rPr>
              <a:t>қорғаныш</a:t>
            </a:r>
            <a:r>
              <a:rPr lang="ru-RU" sz="1100" b="1" dirty="0">
                <a:solidFill>
                  <a:schemeClr val="tx1"/>
                </a:solidFill>
              </a:rPr>
              <a:t> </a:t>
            </a:r>
            <a:r>
              <a:rPr lang="ru-RU" sz="1100" b="1" dirty="0" err="1">
                <a:solidFill>
                  <a:schemeClr val="tx1"/>
                </a:solidFill>
              </a:rPr>
              <a:t>құралдары</a:t>
            </a:r>
            <a:r>
              <a:rPr lang="ru-RU" sz="1100" b="1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21CC2E7-2F38-4599-0394-F1CA4E8825BE}"/>
              </a:ext>
            </a:extLst>
          </p:cNvPr>
          <p:cNvSpPr/>
          <p:nvPr/>
        </p:nvSpPr>
        <p:spPr>
          <a:xfrm>
            <a:off x="7436179" y="2406270"/>
            <a:ext cx="2208287" cy="563844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/>
                </a:solidFill>
              </a:rPr>
              <a:t>Жарықдиодты </a:t>
            </a:r>
            <a:r>
              <a:rPr lang="ru-RU" sz="1100" b="1" dirty="0" err="1">
                <a:solidFill>
                  <a:schemeClr val="tx1"/>
                </a:solidFill>
              </a:rPr>
              <a:t>шамдар</a:t>
            </a:r>
            <a:endParaRPr lang="ru-RU" sz="1100" b="1" dirty="0">
              <a:solidFill>
                <a:schemeClr val="tx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E209777-2534-45B9-E645-789263262E67}"/>
              </a:ext>
            </a:extLst>
          </p:cNvPr>
          <p:cNvSpPr/>
          <p:nvPr/>
        </p:nvSpPr>
        <p:spPr>
          <a:xfrm>
            <a:off x="9720545" y="2438447"/>
            <a:ext cx="2184203" cy="525852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err="1">
                <a:solidFill>
                  <a:schemeClr val="tx1"/>
                </a:solidFill>
              </a:rPr>
              <a:t>Күн</a:t>
            </a:r>
            <a:r>
              <a:rPr lang="ru-RU" sz="1100" b="1" dirty="0">
                <a:solidFill>
                  <a:schemeClr val="tx1"/>
                </a:solidFill>
              </a:rPr>
              <a:t> </a:t>
            </a:r>
            <a:r>
              <a:rPr lang="ru-RU" sz="1100" b="1" dirty="0" err="1">
                <a:solidFill>
                  <a:schemeClr val="tx1"/>
                </a:solidFill>
              </a:rPr>
              <a:t>падельдері</a:t>
            </a:r>
            <a:r>
              <a:rPr lang="ru-RU" sz="1100" b="1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44" name="Slide Number Placeholder 2">
            <a:extLst>
              <a:ext uri="{FF2B5EF4-FFF2-40B4-BE49-F238E27FC236}">
                <a16:creationId xmlns:a16="http://schemas.microsoft.com/office/drawing/2014/main" id="{6FE1A77B-6068-2B57-299A-313E13A7B80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274" y="6525526"/>
            <a:ext cx="616226" cy="332474"/>
          </a:xfrm>
        </p:spPr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8EB68E-E012-4BA0-8FC2-4838E88C4766}" type="slidenum">
              <a:rPr kumimoji="0" lang="it-IT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it-IT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Footer Placeholder 1">
            <a:extLst>
              <a:ext uri="{FF2B5EF4-FFF2-40B4-BE49-F238E27FC236}">
                <a16:creationId xmlns:a16="http://schemas.microsoft.com/office/drawing/2014/main" id="{6CE9D8E7-8209-DD23-0DF8-DCFCB067B152}"/>
              </a:ext>
            </a:extLst>
          </p:cNvPr>
          <p:cNvSpPr txBox="1">
            <a:spLocks/>
          </p:cNvSpPr>
          <p:nvPr/>
        </p:nvSpPr>
        <p:spPr>
          <a:xfrm>
            <a:off x="720500" y="6641838"/>
            <a:ext cx="12184790" cy="33247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k-KZ" sz="800" dirty="0">
                <a:solidFill>
                  <a:schemeClr val="bg1">
                    <a:lumMod val="50000"/>
                  </a:schemeClr>
                </a:solidFill>
              </a:rPr>
              <a:t>ҚҰПИЯ АҚПАРА 				 КАРАЧАГАНАК ПЕТРОЛИУМ ОПЕРЕЙТИНГ Б.В.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6E47C2BF-F584-674F-6155-305F226523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20545" y="1098959"/>
            <a:ext cx="2198611" cy="1331345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5D73573-4EAD-B0F8-074D-9C6FDD4C75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21328" y="1086731"/>
            <a:ext cx="2179945" cy="1297418"/>
          </a:xfrm>
          <a:prstGeom prst="rect">
            <a:avLst/>
          </a:prstGeom>
        </p:spPr>
      </p:pic>
      <p:pic>
        <p:nvPicPr>
          <p:cNvPr id="47" name="Picture 4" descr="KPOBV site: Программа подготовки техников-электриков и техников КИПиА">
            <a:extLst>
              <a:ext uri="{FF2B5EF4-FFF2-40B4-BE49-F238E27FC236}">
                <a16:creationId xmlns:a16="http://schemas.microsoft.com/office/drawing/2014/main" id="{13E3058B-A650-CD9B-C8D9-18B75F080D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7922" y="1122411"/>
            <a:ext cx="2274214" cy="1237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52" descr="A red fire truck with white stripes&#10;&#10;AI-generated content may be incorrect.">
            <a:extLst>
              <a:ext uri="{FF2B5EF4-FFF2-40B4-BE49-F238E27FC236}">
                <a16:creationId xmlns:a16="http://schemas.microsoft.com/office/drawing/2014/main" id="{501DC2A5-58DF-953A-1A5D-79D57EE08AB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152" t="37097" r="36213" b="38912"/>
          <a:stretch>
            <a:fillRect/>
          </a:stretch>
        </p:blipFill>
        <p:spPr>
          <a:xfrm>
            <a:off x="7539901" y="2964299"/>
            <a:ext cx="2128649" cy="1192431"/>
          </a:xfrm>
          <a:prstGeom prst="rect">
            <a:avLst/>
          </a:prstGeom>
        </p:spPr>
      </p:pic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D777DE96-25BD-3535-C681-B323B23F2065}"/>
              </a:ext>
            </a:extLst>
          </p:cNvPr>
          <p:cNvSpPr/>
          <p:nvPr/>
        </p:nvSpPr>
        <p:spPr>
          <a:xfrm>
            <a:off x="545295" y="1094330"/>
            <a:ext cx="2185627" cy="1260688"/>
          </a:xfrm>
          <a:prstGeom prst="roundRect">
            <a:avLst>
              <a:gd name="adj" fmla="val 9559"/>
            </a:avLst>
          </a:pr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630">
              <a:defRPr/>
            </a:pPr>
            <a:endParaRPr lang="en-GB" sz="1200" dirty="0">
              <a:solidFill>
                <a:prstClr val="white"/>
              </a:solidFill>
              <a:latin typeface="Montserrat" panose="00000500000000000000" pitchFamily="2" charset="-52"/>
              <a:cs typeface="Rubik" pitchFamily="2" charset="-79"/>
            </a:endParaRP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05134F78-B138-FE2B-5CCE-5E7A5917F1F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932663" y="3176784"/>
            <a:ext cx="890583" cy="524596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1F5E7676-FDE0-1391-7AC2-3109E5D6929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82767" y="3020279"/>
            <a:ext cx="2301417" cy="1209846"/>
          </a:xfrm>
          <a:prstGeom prst="rect">
            <a:avLst/>
          </a:prstGeom>
        </p:spPr>
      </p:pic>
      <p:sp>
        <p:nvSpPr>
          <p:cNvPr id="59" name="Rectangle 58">
            <a:extLst>
              <a:ext uri="{FF2B5EF4-FFF2-40B4-BE49-F238E27FC236}">
                <a16:creationId xmlns:a16="http://schemas.microsoft.com/office/drawing/2014/main" id="{090F4036-2CCA-C8BF-AF77-9777838E0588}"/>
              </a:ext>
            </a:extLst>
          </p:cNvPr>
          <p:cNvSpPr/>
          <p:nvPr/>
        </p:nvSpPr>
        <p:spPr>
          <a:xfrm>
            <a:off x="7487906" y="4269074"/>
            <a:ext cx="2284524" cy="509960"/>
          </a:xfrm>
          <a:prstGeom prst="rect">
            <a:avLst/>
          </a:prstGeom>
          <a:solidFill>
            <a:srgbClr val="00B050"/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 b="1" dirty="0">
              <a:solidFill>
                <a:schemeClr val="tx1"/>
              </a:solidFill>
            </a:endParaRPr>
          </a:p>
          <a:p>
            <a:pPr algn="ctr"/>
            <a:r>
              <a:rPr lang="ru-RU" sz="1100" b="1" dirty="0" err="1">
                <a:solidFill>
                  <a:schemeClr val="tx1"/>
                </a:solidFill>
              </a:rPr>
              <a:t>Өр</a:t>
            </a:r>
            <a:r>
              <a:rPr lang="ru-RU" sz="1100" b="1" dirty="0">
                <a:solidFill>
                  <a:schemeClr val="tx1"/>
                </a:solidFill>
              </a:rPr>
              <a:t> </a:t>
            </a:r>
            <a:r>
              <a:rPr lang="ru-RU" sz="1100" b="1" dirty="0" err="1">
                <a:solidFill>
                  <a:schemeClr val="tx1"/>
                </a:solidFill>
              </a:rPr>
              <a:t>сөндіру</a:t>
            </a:r>
            <a:r>
              <a:rPr lang="ru-RU" sz="1100" b="1" dirty="0">
                <a:solidFill>
                  <a:schemeClr val="tx1"/>
                </a:solidFill>
              </a:rPr>
              <a:t> </a:t>
            </a:r>
            <a:r>
              <a:rPr lang="ru-RU" sz="1100" b="1" dirty="0" err="1">
                <a:solidFill>
                  <a:schemeClr val="tx1"/>
                </a:solidFill>
              </a:rPr>
              <a:t>машинасы</a:t>
            </a:r>
            <a:endParaRPr lang="ru-RU" sz="1100" b="1" dirty="0">
              <a:solidFill>
                <a:schemeClr val="tx1"/>
              </a:solidFill>
            </a:endParaRPr>
          </a:p>
          <a:p>
            <a:pPr algn="ctr"/>
            <a:endParaRPr lang="ru-RU" sz="1100" b="1" dirty="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CED89C-755E-EF7E-64DA-1A6E1FDB6AB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436179" y="1078438"/>
            <a:ext cx="2208287" cy="130571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854363B-FF21-9B97-765C-5B00D7FC63C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952736" y="3166702"/>
            <a:ext cx="890583" cy="52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8115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nts Slide Master">
  <a:themeElements>
    <a:clrScheme name="Custom 9">
      <a:dk1>
        <a:srgbClr val="000000"/>
      </a:dk1>
      <a:lt1>
        <a:srgbClr val="FFFFFF"/>
      </a:lt1>
      <a:dk2>
        <a:srgbClr val="00ABC5"/>
      </a:dk2>
      <a:lt2>
        <a:srgbClr val="FFFFFF"/>
      </a:lt2>
      <a:accent1>
        <a:srgbClr val="00ABC5"/>
      </a:accent1>
      <a:accent2>
        <a:srgbClr val="FBD741"/>
      </a:accent2>
      <a:accent3>
        <a:srgbClr val="000000"/>
      </a:accent3>
      <a:accent4>
        <a:srgbClr val="FBD741"/>
      </a:accent4>
      <a:accent5>
        <a:srgbClr val="00ABC5"/>
      </a:accent5>
      <a:accent6>
        <a:srgbClr val="FBD741"/>
      </a:accent6>
      <a:hlink>
        <a:srgbClr val="00ABC5"/>
      </a:hlink>
      <a:folHlink>
        <a:srgbClr val="FBD741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2AEB8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0.xml><?xml version="1.0" encoding="utf-8"?>
<a:theme xmlns:a="http://schemas.openxmlformats.org/drawingml/2006/main" name="5_Custom Design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ABC5"/>
      </a:accent1>
      <a:accent2>
        <a:srgbClr val="FBD741"/>
      </a:accent2>
      <a:accent3>
        <a:srgbClr val="000000"/>
      </a:accent3>
      <a:accent4>
        <a:srgbClr val="FBD741"/>
      </a:accent4>
      <a:accent5>
        <a:srgbClr val="00ABC5"/>
      </a:accent5>
      <a:accent6>
        <a:srgbClr val="FBD741"/>
      </a:accent6>
      <a:hlink>
        <a:srgbClr val="00ABC5"/>
      </a:hlink>
      <a:folHlink>
        <a:srgbClr val="FBD74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3200" dirty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3_Contents Slide Master">
  <a:themeElements>
    <a:clrScheme name="Custom 9">
      <a:dk1>
        <a:srgbClr val="000000"/>
      </a:dk1>
      <a:lt1>
        <a:srgbClr val="FFFFFF"/>
      </a:lt1>
      <a:dk2>
        <a:srgbClr val="00ABC5"/>
      </a:dk2>
      <a:lt2>
        <a:srgbClr val="FFFFFF"/>
      </a:lt2>
      <a:accent1>
        <a:srgbClr val="00ABC5"/>
      </a:accent1>
      <a:accent2>
        <a:srgbClr val="FBD741"/>
      </a:accent2>
      <a:accent3>
        <a:srgbClr val="000000"/>
      </a:accent3>
      <a:accent4>
        <a:srgbClr val="FBD741"/>
      </a:accent4>
      <a:accent5>
        <a:srgbClr val="00ABC5"/>
      </a:accent5>
      <a:accent6>
        <a:srgbClr val="FBD741"/>
      </a:accent6>
      <a:hlink>
        <a:srgbClr val="00ABC5"/>
      </a:hlink>
      <a:folHlink>
        <a:srgbClr val="FBD741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2AEB8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2.xml><?xml version="1.0" encoding="utf-8"?>
<a:theme xmlns:a="http://schemas.openxmlformats.org/drawingml/2006/main" name="4_Contents Slide Master">
  <a:themeElements>
    <a:clrScheme name="Custom 9">
      <a:dk1>
        <a:srgbClr val="000000"/>
      </a:dk1>
      <a:lt1>
        <a:srgbClr val="FFFFFF"/>
      </a:lt1>
      <a:dk2>
        <a:srgbClr val="00ABC5"/>
      </a:dk2>
      <a:lt2>
        <a:srgbClr val="FFFFFF"/>
      </a:lt2>
      <a:accent1>
        <a:srgbClr val="00ABC5"/>
      </a:accent1>
      <a:accent2>
        <a:srgbClr val="FBD741"/>
      </a:accent2>
      <a:accent3>
        <a:srgbClr val="000000"/>
      </a:accent3>
      <a:accent4>
        <a:srgbClr val="FBD741"/>
      </a:accent4>
      <a:accent5>
        <a:srgbClr val="00ABC5"/>
      </a:accent5>
      <a:accent6>
        <a:srgbClr val="FBD741"/>
      </a:accent6>
      <a:hlink>
        <a:srgbClr val="00ABC5"/>
      </a:hlink>
      <a:folHlink>
        <a:srgbClr val="FBD741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2AEB8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ontents Slide Master">
  <a:themeElements>
    <a:clrScheme name="Custom 9">
      <a:dk1>
        <a:srgbClr val="000000"/>
      </a:dk1>
      <a:lt1>
        <a:srgbClr val="FFFFFF"/>
      </a:lt1>
      <a:dk2>
        <a:srgbClr val="00ABC5"/>
      </a:dk2>
      <a:lt2>
        <a:srgbClr val="FFFFFF"/>
      </a:lt2>
      <a:accent1>
        <a:srgbClr val="00ABC5"/>
      </a:accent1>
      <a:accent2>
        <a:srgbClr val="FBD741"/>
      </a:accent2>
      <a:accent3>
        <a:srgbClr val="000000"/>
      </a:accent3>
      <a:accent4>
        <a:srgbClr val="FBD741"/>
      </a:accent4>
      <a:accent5>
        <a:srgbClr val="00ABC5"/>
      </a:accent5>
      <a:accent6>
        <a:srgbClr val="FBD741"/>
      </a:accent6>
      <a:hlink>
        <a:srgbClr val="00ABC5"/>
      </a:hlink>
      <a:folHlink>
        <a:srgbClr val="FBD741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2AEB8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Custom Design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ABC5"/>
      </a:accent1>
      <a:accent2>
        <a:srgbClr val="FBD741"/>
      </a:accent2>
      <a:accent3>
        <a:srgbClr val="000000"/>
      </a:accent3>
      <a:accent4>
        <a:srgbClr val="FBD741"/>
      </a:accent4>
      <a:accent5>
        <a:srgbClr val="00ABC5"/>
      </a:accent5>
      <a:accent6>
        <a:srgbClr val="FBD741"/>
      </a:accent6>
      <a:hlink>
        <a:srgbClr val="00ABC5"/>
      </a:hlink>
      <a:folHlink>
        <a:srgbClr val="FBD74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3200" dirty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Contents Slide Master">
  <a:themeElements>
    <a:clrScheme name="Custom 1">
      <a:dk1>
        <a:srgbClr val="00ABC5"/>
      </a:dk1>
      <a:lt1>
        <a:srgbClr val="FFFFFF"/>
      </a:lt1>
      <a:dk2>
        <a:srgbClr val="00ABC5"/>
      </a:dk2>
      <a:lt2>
        <a:srgbClr val="FFFFFF"/>
      </a:lt2>
      <a:accent1>
        <a:srgbClr val="00ABC5"/>
      </a:accent1>
      <a:accent2>
        <a:srgbClr val="FBD741"/>
      </a:accent2>
      <a:accent3>
        <a:srgbClr val="000000"/>
      </a:accent3>
      <a:accent4>
        <a:srgbClr val="FBD741"/>
      </a:accent4>
      <a:accent5>
        <a:srgbClr val="00ABC5"/>
      </a:accent5>
      <a:accent6>
        <a:srgbClr val="FBD741"/>
      </a:accent6>
      <a:hlink>
        <a:srgbClr val="00ABC5"/>
      </a:hlink>
      <a:folHlink>
        <a:srgbClr val="FBD74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2AEB8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1_Custom Design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ABC5"/>
      </a:accent1>
      <a:accent2>
        <a:srgbClr val="FBD741"/>
      </a:accent2>
      <a:accent3>
        <a:srgbClr val="000000"/>
      </a:accent3>
      <a:accent4>
        <a:srgbClr val="FBD741"/>
      </a:accent4>
      <a:accent5>
        <a:srgbClr val="00ABC5"/>
      </a:accent5>
      <a:accent6>
        <a:srgbClr val="FBD741"/>
      </a:accent6>
      <a:hlink>
        <a:srgbClr val="00ABC5"/>
      </a:hlink>
      <a:folHlink>
        <a:srgbClr val="FBD74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3200" dirty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6_Custom Design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ABC5"/>
      </a:accent1>
      <a:accent2>
        <a:srgbClr val="FBD741"/>
      </a:accent2>
      <a:accent3>
        <a:srgbClr val="000000"/>
      </a:accent3>
      <a:accent4>
        <a:srgbClr val="FBD741"/>
      </a:accent4>
      <a:accent5>
        <a:srgbClr val="00ABC5"/>
      </a:accent5>
      <a:accent6>
        <a:srgbClr val="FBD741"/>
      </a:accent6>
      <a:hlink>
        <a:srgbClr val="00ABC5"/>
      </a:hlink>
      <a:folHlink>
        <a:srgbClr val="FBD74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3200" dirty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Custom Design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ABC5"/>
      </a:accent1>
      <a:accent2>
        <a:srgbClr val="FBD741"/>
      </a:accent2>
      <a:accent3>
        <a:srgbClr val="000000"/>
      </a:accent3>
      <a:accent4>
        <a:srgbClr val="FBD741"/>
      </a:accent4>
      <a:accent5>
        <a:srgbClr val="00ABC5"/>
      </a:accent5>
      <a:accent6>
        <a:srgbClr val="FBD741"/>
      </a:accent6>
      <a:hlink>
        <a:srgbClr val="00ABC5"/>
      </a:hlink>
      <a:folHlink>
        <a:srgbClr val="FBD74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3200" dirty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Custom Design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ABC5"/>
      </a:accent1>
      <a:accent2>
        <a:srgbClr val="FBD741"/>
      </a:accent2>
      <a:accent3>
        <a:srgbClr val="000000"/>
      </a:accent3>
      <a:accent4>
        <a:srgbClr val="FBD741"/>
      </a:accent4>
      <a:accent5>
        <a:srgbClr val="00ABC5"/>
      </a:accent5>
      <a:accent6>
        <a:srgbClr val="FBD741"/>
      </a:accent6>
      <a:hlink>
        <a:srgbClr val="00ABC5"/>
      </a:hlink>
      <a:folHlink>
        <a:srgbClr val="FBD74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3200" dirty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4_Custom Design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ABC5"/>
      </a:accent1>
      <a:accent2>
        <a:srgbClr val="FBD741"/>
      </a:accent2>
      <a:accent3>
        <a:srgbClr val="000000"/>
      </a:accent3>
      <a:accent4>
        <a:srgbClr val="FBD741"/>
      </a:accent4>
      <a:accent5>
        <a:srgbClr val="00ABC5"/>
      </a:accent5>
      <a:accent6>
        <a:srgbClr val="FBD741"/>
      </a:accent6>
      <a:hlink>
        <a:srgbClr val="00ABC5"/>
      </a:hlink>
      <a:folHlink>
        <a:srgbClr val="FBD74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3200" dirty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KPO PRESENTATION TEMPLATE ENG.pptx" id="{0B781AE2-292D-41E3-B049-D2DEFA4DEC50}" vid="{42D7E673-EFF8-4731-9AB8-ABE2372F0F46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448</TotalTime>
  <Words>110</Words>
  <Application>Microsoft Office PowerPoint</Application>
  <PresentationFormat>Widescreen</PresentationFormat>
  <Paragraphs>33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23" baseType="lpstr">
      <vt:lpstr>Aptos</vt:lpstr>
      <vt:lpstr>Arial</vt:lpstr>
      <vt:lpstr>Bahnschrift Light</vt:lpstr>
      <vt:lpstr>Bahnschrift SemiBold</vt:lpstr>
      <vt:lpstr>Calibri</vt:lpstr>
      <vt:lpstr>Montserrat</vt:lpstr>
      <vt:lpstr>Verdana</vt:lpstr>
      <vt:lpstr>Wingdings</vt:lpstr>
      <vt:lpstr>Contents Slide Master</vt:lpstr>
      <vt:lpstr>1_Contents Slide Master</vt:lpstr>
      <vt:lpstr>Custom Design</vt:lpstr>
      <vt:lpstr>2_Contents Slide Master</vt:lpstr>
      <vt:lpstr>1_Custom Design</vt:lpstr>
      <vt:lpstr>16_Custom Design</vt:lpstr>
      <vt:lpstr>2_Custom Design</vt:lpstr>
      <vt:lpstr>3_Custom Design</vt:lpstr>
      <vt:lpstr>4_Custom Design</vt:lpstr>
      <vt:lpstr>5_Custom Design</vt:lpstr>
      <vt:lpstr>3_Contents Slide Master</vt:lpstr>
      <vt:lpstr>4_Contents Slide Master</vt:lpstr>
      <vt:lpstr>think-cell Slide</vt:lpstr>
      <vt:lpstr>ТАУАРЛАРДЫ ЖЕРГІЛІКТЕНДІРУДІҢ  СӘТТІ МЫСАЛДАРЫ</vt:lpstr>
      <vt:lpstr>ТАУАРЛАРДЫ ЖЕРГІЛІКТЕНДІРУДІҢ  СӘТТІ МЫСАЛДАРЫ</vt:lpstr>
    </vt:vector>
  </TitlesOfParts>
  <Company>Karachaganak Petroleum Operating B.V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ARACHAGANAK – CPC PARTNERSHIP:  HISTORY OF SUCCESS</dc:title>
  <dc:creator>Sekeyev, Issak</dc:creator>
  <cp:lastModifiedBy>Nurgaliyeva, Zhanna</cp:lastModifiedBy>
  <cp:revision>905</cp:revision>
  <dcterms:created xsi:type="dcterms:W3CDTF">2021-10-19T11:42:41Z</dcterms:created>
  <dcterms:modified xsi:type="dcterms:W3CDTF">2025-12-22T09:37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6bb000d-2615-468f-ad7a-20893d5bfb21_Enabled">
    <vt:lpwstr>true</vt:lpwstr>
  </property>
  <property fmtid="{D5CDD505-2E9C-101B-9397-08002B2CF9AE}" pid="3" name="MSIP_Label_86bb000d-2615-468f-ad7a-20893d5bfb21_SetDate">
    <vt:lpwstr>2025-12-22T06:31:30Z</vt:lpwstr>
  </property>
  <property fmtid="{D5CDD505-2E9C-101B-9397-08002B2CF9AE}" pid="4" name="MSIP_Label_86bb000d-2615-468f-ad7a-20893d5bfb21_Method">
    <vt:lpwstr>Standard</vt:lpwstr>
  </property>
  <property fmtid="{D5CDD505-2E9C-101B-9397-08002B2CF9AE}" pid="5" name="MSIP_Label_86bb000d-2615-468f-ad7a-20893d5bfb21_Name">
    <vt:lpwstr>Restricted</vt:lpwstr>
  </property>
  <property fmtid="{D5CDD505-2E9C-101B-9397-08002B2CF9AE}" pid="6" name="MSIP_Label_86bb000d-2615-468f-ad7a-20893d5bfb21_SiteId">
    <vt:lpwstr>0c15a3ad-4378-464f-b213-0d271c4ae18b</vt:lpwstr>
  </property>
  <property fmtid="{D5CDD505-2E9C-101B-9397-08002B2CF9AE}" pid="7" name="MSIP_Label_86bb000d-2615-468f-ad7a-20893d5bfb21_ActionId">
    <vt:lpwstr>6fde9247-e7f6-4d02-a39f-1ff6f5a2a759</vt:lpwstr>
  </property>
  <property fmtid="{D5CDD505-2E9C-101B-9397-08002B2CF9AE}" pid="8" name="MSIP_Label_86bb000d-2615-468f-ad7a-20893d5bfb21_ContentBits">
    <vt:lpwstr>1</vt:lpwstr>
  </property>
  <property fmtid="{D5CDD505-2E9C-101B-9397-08002B2CF9AE}" pid="9" name="MSIP_Label_86bb000d-2615-468f-ad7a-20893d5bfb21_Tag">
    <vt:lpwstr>10, 3, 0, 1</vt:lpwstr>
  </property>
  <property fmtid="{D5CDD505-2E9C-101B-9397-08002B2CF9AE}" pid="10" name="ClassificationContentMarkingHeaderLocations">
    <vt:lpwstr>Contents Slide Master:3\1_Contents Slide Master:3\Custom Design:3\2_Contents Slide Master:3\1_Custom Design:3\16_Custom Design:3\2_Custom Design:3\3_Custom Design:3\4_Custom Design:3\5_Custom Design:3\3_Contents Slide Master:5\4_Contents Slide Master:3</vt:lpwstr>
  </property>
  <property fmtid="{D5CDD505-2E9C-101B-9397-08002B2CF9AE}" pid="11" name="ClassificationContentMarkingHeaderText">
    <vt:lpwstr>RESTRICTED</vt:lpwstr>
  </property>
</Properties>
</file>